
<file path=[Content_Types].xml><?xml version="1.0" encoding="utf-8"?>
<Types xmlns="http://schemas.openxmlformats.org/package/2006/content-types">
  <Override PartName="/ppt/slides/slide14.xml" ContentType="application/vnd.openxmlformats-officedocument.presentationml.slide+xml"/>
  <Override PartName="/ppt/slideLayouts/slideLayout8.xml" ContentType="application/vnd.openxmlformats-officedocument.presentationml.slideLayout+xml"/>
  <Override PartName="/ppt/tags/tag79.xml" ContentType="application/vnd.openxmlformats-officedocument.presentationml.tags+xml"/>
  <Override PartName="/ppt/tags/tag11.xml" ContentType="application/vnd.openxmlformats-officedocument.presentationml.tags+xml"/>
  <Override PartName="/ppt/tags/tag30.xml" ContentType="application/vnd.openxmlformats-officedocument.presentationml.tags+xml"/>
  <Override PartName="/ppt/tags/tag1.xml" ContentType="application/vnd.openxmlformats-officedocument.presentationml.tags+xml"/>
  <Override PartName="/ppt/tags/tag46.xml" ContentType="application/vnd.openxmlformats-officedocument.presentationml.tags+xml"/>
  <Override PartName="/ppt/tags/tag27.xml" ContentType="application/vnd.openxmlformats-officedocument.presentationml.tags+xml"/>
  <Override PartName="/ppt/tags/tag65.xml" ContentType="application/vnd.openxmlformats-officedocument.presentationml.tags+xml"/>
  <Default Extension="bin" ContentType="application/vnd.openxmlformats-officedocument.presentationml.printerSettings"/>
  <Override PartName="/ppt/embeddings/oleObject5.bin" ContentType="application/vnd.openxmlformats-officedocument.oleObject"/>
  <Override PartName="/ppt/tags/tag70.xml" ContentType="application/vnd.openxmlformats-officedocument.presentationml.tags+xml"/>
  <Default Extension="wmf" ContentType="image/x-wmf"/>
  <Override PartName="/ppt/notesSlides/notesSlide2.xml" ContentType="application/vnd.openxmlformats-officedocument.presentationml.notesSlide+xml"/>
  <Override PartName="/ppt/slides/slide18.xml" ContentType="application/vnd.openxmlformats-officedocument.presentationml.slide+xml"/>
  <Override PartName="/ppt/tags/tag15.xml" ContentType="application/vnd.openxmlformats-officedocument.presentationml.tags+xml"/>
  <Override PartName="/ppt/slides/slide3.xml" ContentType="application/vnd.openxmlformats-officedocument.presentationml.slide+xml"/>
  <Override PartName="/ppt/tags/tag53.xml" ContentType="application/vnd.openxmlformats-officedocument.presentationml.tags+xml"/>
  <Override PartName="/ppt/slideLayouts/slideLayout1.xml" ContentType="application/vnd.openxmlformats-officedocument.presentationml.slideLayout+xml"/>
  <Override PartName="/ppt/tags/tag69.xml" ContentType="application/vnd.openxmlformats-officedocument.presentationml.tags+xml"/>
  <Override PartName="/ppt/tags/tag34.xml" ContentType="application/vnd.openxmlformats-officedocument.presentationml.tags+xml"/>
  <Override PartName="/ppt/theme/theme1.xml" ContentType="application/vnd.openxmlformats-officedocument.theme+xml"/>
  <Override PartName="/ppt/tags/tag20.xml" ContentType="application/vnd.openxmlformats-officedocument.presentationml.tags+xml"/>
  <Override PartName="/ppt/tags/tag5.xml" ContentType="application/vnd.openxmlformats-officedocument.presentationml.tags+xml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38.xml" ContentType="application/vnd.openxmlformats-officedocument.presentationml.tags+xml"/>
  <Override PartName="/ppt/tags/tag57.xml" ContentType="application/vnd.openxmlformats-officedocument.presentationml.tags+xml"/>
  <Override PartName="/ppt/slideLayouts/slideLayout5.xml" ContentType="application/vnd.openxmlformats-officedocument.presentationml.slideLayout+xml"/>
  <Override PartName="/ppt/tags/tag9.xml" ContentType="application/vnd.openxmlformats-officedocument.presentationml.tags+xml"/>
  <Override PartName="/ppt/slides/slide11.xml" ContentType="application/vnd.openxmlformats-officedocument.presentationml.slide+xml"/>
  <Override PartName="/ppt/slides/slide7.xml" ContentType="application/vnd.openxmlformats-officedocument.presentationml.slide+xml"/>
  <Override PartName="/ppt/tags/tag24.xml" ContentType="application/vnd.openxmlformats-officedocument.presentationml.tags+xml"/>
  <Override PartName="/ppt/tags/tag43.xml" ContentType="application/vnd.openxmlformats-officedocument.presentationml.tags+xml"/>
  <Override PartName="/ppt/tags/tag62.xml" ContentType="application/vnd.openxmlformats-officedocument.presentationml.tags+xml"/>
  <Override PartName="/ppt/tags/tag76.xml" ContentType="application/vnd.openxmlformats-officedocument.presentationml.tags+xml"/>
  <Override PartName="/ppt/embeddings/oleObject2.bin" ContentType="application/vnd.openxmlformats-officedocument.oleObject"/>
  <Override PartName="/ppt/slideLayouts/slideLayout9.xml" ContentType="application/vnd.openxmlformats-officedocument.presentationml.slideLayout+xml"/>
  <Override PartName="/ppt/slides/slide15.xml" ContentType="application/vnd.openxmlformats-officedocument.presentationml.slide+xml"/>
  <Override PartName="/ppt/tags/tag12.xml" ContentType="application/vnd.openxmlformats-officedocument.presentationml.tags+xml"/>
  <Override PartName="/ppt/tags/tag31.xml" ContentType="application/vnd.openxmlformats-officedocument.presentationml.tags+xml"/>
  <Override PartName="/ppt/tags/tag50.xml" ContentType="application/vnd.openxmlformats-officedocument.presentationml.tags+xml"/>
  <Override PartName="/ppt/tags/tag47.xml" ContentType="application/vnd.openxmlformats-officedocument.presentationml.tags+xml"/>
  <Override PartName="/ppt/slides/slide20.xml" ContentType="application/vnd.openxmlformats-officedocument.presentationml.slide+xml"/>
  <Override PartName="/ppt/tags/tag2.xml" ContentType="application/vnd.openxmlformats-officedocument.presentationml.tags+xml"/>
  <Override PartName="/ppt/tags/tag28.xml" ContentType="application/vnd.openxmlformats-officedocument.presentationml.tags+xml"/>
  <Override PartName="/ppt/tags/tag66.xml" ContentType="application/vnd.openxmlformats-officedocument.presentationml.tags+xml"/>
  <Override PartName="/ppt/presProps.xml" ContentType="application/vnd.openxmlformats-officedocument.presentationml.presProps+xml"/>
  <Override PartName="/ppt/tags/tag71.xml" ContentType="application/vnd.openxmlformats-officedocument.presentationml.tags+xml"/>
  <Override PartName="/ppt/notesSlides/notesSlide3.xml" ContentType="application/vnd.openxmlformats-officedocument.presentationml.notesSlide+xml"/>
  <Override PartName="/ppt/slides/slide19.xml" ContentType="application/vnd.openxmlformats-officedocument.presentationml.slide+xml"/>
  <Override PartName="/ppt/tags/tag16.xml" ContentType="application/vnd.openxmlformats-officedocument.presentationml.tags+xml"/>
  <Override PartName="/ppt/slides/slide4.xml" ContentType="application/vnd.openxmlformats-officedocument.presentationml.slide+xml"/>
  <Override PartName="/ppt/tags/tag54.xml" ContentType="application/vnd.openxmlformats-officedocument.presentationml.tags+xml"/>
  <Override PartName="/ppt/tags/tag73.xml" ContentType="application/vnd.openxmlformats-officedocument.presentationml.tags+xml"/>
  <Override PartName="/ppt/slideLayouts/slideLayout2.xml" ContentType="application/vnd.openxmlformats-officedocument.presentationml.slideLayout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40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docProps/core.xml" ContentType="application/vnd.openxmlformats-package.core-properties+xml"/>
  <Override PartName="/ppt/notesSlides/notesSlide7.xml" ContentType="application/vnd.openxmlformats-officedocument.presentationml.notesSlide+xml"/>
  <Default Extension="jpeg" ContentType="image/jpeg"/>
  <Default Extension="vml" ContentType="application/vnd.openxmlformats-officedocument.vmlDrawing"/>
  <Override PartName="/ppt/tags/tag39.xml" ContentType="application/vnd.openxmlformats-officedocument.presentationml.tags+xml"/>
  <Override PartName="/ppt/slides/slide12.xml" ContentType="application/vnd.openxmlformats-officedocument.presentationml.slide+xml"/>
  <Override PartName="/ppt/slides/slide8.xml" ContentType="application/vnd.openxmlformats-officedocument.presentationml.slide+xml"/>
  <Override PartName="/ppt/tags/tag58.xml" ContentType="application/vnd.openxmlformats-officedocument.presentationml.tags+xml"/>
  <Override PartName="/ppt/slideLayouts/slideLayout6.xml" ContentType="application/vnd.openxmlformats-officedocument.presentationml.slideLayout+xml"/>
  <Override PartName="/ppt/tags/tag77.xml" ContentType="application/vnd.openxmlformats-officedocument.presentationml.tags+xml"/>
  <Override PartName="/ppt/tags/tag25.xml" ContentType="application/vnd.openxmlformats-officedocument.presentationml.tags+xml"/>
  <Override PartName="/ppt/tags/tag44.xml" ContentType="application/vnd.openxmlformats-officedocument.presentationml.tags+xml"/>
  <Override PartName="/ppt/tags/tag63.xml" ContentType="application/vnd.openxmlformats-officedocument.presentationml.tags+xml"/>
  <Override PartName="/ppt/embeddings/oleObject3.bin" ContentType="application/vnd.openxmlformats-officedocument.oleObject"/>
  <Default Extension="emf" ContentType="image/x-emf"/>
  <Default Extension="rels" ContentType="application/vnd.openxmlformats-package.relationships+xml"/>
  <Override PartName="/ppt/slides/slide16.xml" ContentType="application/vnd.openxmlformats-officedocument.presentationml.slide+xml"/>
  <Override PartName="/ppt/tags/tag13.xml" ContentType="application/vnd.openxmlformats-officedocument.presentationml.tags+xml"/>
  <Override PartName="/ppt/tags/tag32.xml" ContentType="application/vnd.openxmlformats-officedocument.presentationml.tags+xml"/>
  <Override PartName="/ppt/tags/tag3.xml" ContentType="application/vnd.openxmlformats-officedocument.presentationml.tags+xml"/>
  <Override PartName="/ppt/tags/tag29.xml" ContentType="application/vnd.openxmlformats-officedocument.presentationml.tags+xml"/>
  <Override PartName="/ppt/tags/tag67.xml" ContentType="application/vnd.openxmlformats-officedocument.presentationml.tags+xml"/>
  <Override PartName="/ppt/slides/slide1.xml" ContentType="application/vnd.openxmlformats-officedocument.presentationml.slide+xml"/>
  <Override PartName="/ppt/tags/tag51.xml" ContentType="application/vnd.openxmlformats-officedocument.presentationml.tags+xml"/>
  <Override PartName="/ppt/tags/tag48.xml" ContentType="application/vnd.openxmlformats-officedocument.presentationml.tags+xml"/>
  <Override PartName="/ppt/tags/tag72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slides/slide5.xml" ContentType="application/vnd.openxmlformats-officedocument.presentationml.slide+xml"/>
  <Override PartName="/ppt/slideMasters/slideMaster1.xml" ContentType="application/vnd.openxmlformats-officedocument.presentationml.slideMaster+xml"/>
  <Override PartName="/ppt/tags/tag55.xml" ContentType="application/vnd.openxmlformats-officedocument.presentationml.tags+xml"/>
  <Override PartName="/ppt/slideLayouts/slideLayout3.xml" ContentType="application/vnd.openxmlformats-officedocument.presentationml.slideLayout+xml"/>
  <Override PartName="/ppt/tags/tag36.xml" ContentType="application/vnd.openxmlformats-officedocument.presentationml.tags+xml"/>
  <Override PartName="/ppt/tags/tag7.xml" ContentType="application/vnd.openxmlformats-officedocument.presentationml.tags+xml"/>
  <Override PartName="/ppt/tags/tag22.xml" ContentType="application/vnd.openxmlformats-officedocument.presentationml.tags+xml"/>
  <Override PartName="/ppt/tags/tag41.xml" ContentType="application/vnd.openxmlformats-officedocument.presentationml.tags+xml"/>
  <Override PartName="/ppt/tags/tag60.xml" ContentType="application/vnd.openxmlformats-officedocument.presentationml.tags+xml"/>
  <Override PartName="/ppt/tags/tag74.xml" ContentType="application/vnd.openxmlformats-officedocument.presentationml.tags+xml"/>
  <Override PartName="/ppt/slides/slide9.xml" ContentType="application/vnd.openxmlformats-officedocument.presentationml.slide+xml"/>
  <Override PartName="/ppt/slides/slide13.xml" ContentType="application/vnd.openxmlformats-officedocument.presentationml.slide+xml"/>
  <Default Extension="xml" ContentType="application/xml"/>
  <Override PartName="/ppt/tableStyles.xml" ContentType="application/vnd.openxmlformats-officedocument.presentationml.tableStyles+xml"/>
  <Override PartName="/ppt/tags/tag59.xml" ContentType="application/vnd.openxmlformats-officedocument.presentationml.tags+xml"/>
  <Override PartName="/ppt/slideLayouts/slideLayout7.xml" ContentType="application/vnd.openxmlformats-officedocument.presentationml.slideLayout+xml"/>
  <Override PartName="/ppt/tags/tag26.xml" ContentType="application/vnd.openxmlformats-officedocument.presentationml.tags+xml"/>
  <Override PartName="/ppt/tags/tag45.xml" ContentType="application/vnd.openxmlformats-officedocument.presentationml.tags+xml"/>
  <Override PartName="/ppt/tags/tag64.xml" ContentType="application/vnd.openxmlformats-officedocument.presentationml.tags+xml"/>
  <Override PartName="/ppt/viewProps.xml" ContentType="application/vnd.openxmlformats-officedocument.presentationml.viewProps+xml"/>
  <Override PartName="/ppt/tags/tag10.xml" ContentType="application/vnd.openxmlformats-officedocument.presentationml.tags+xml"/>
  <Override PartName="/ppt/tags/tag78.xml" ContentType="application/vnd.openxmlformats-officedocument.presentationml.tags+xml"/>
  <Override PartName="/ppt/embeddings/oleObject4.bin" ContentType="application/vnd.openxmlformats-officedocument.oleObject"/>
  <Override PartName="/docProps/app.xml" ContentType="application/vnd.openxmlformats-officedocument.extended-propertie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slides/slide17.xml" ContentType="application/vnd.openxmlformats-officedocument.presentationml.slide+xml"/>
  <Override PartName="/ppt/presentation.xml" ContentType="application/vnd.openxmlformats-officedocument.presentationml.presentation.main+xml"/>
  <Override PartName="/ppt/tags/tag14.xml" ContentType="application/vnd.openxmlformats-officedocument.presentationml.tags+xml"/>
  <Override PartName="/ppt/tags/tag33.xml" ContentType="application/vnd.openxmlformats-officedocument.presentationml.tags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ags/tag68.xml" ContentType="application/vnd.openxmlformats-officedocument.presentationml.tags+xml"/>
  <Override PartName="/ppt/tags/tag52.xml" ContentType="application/vnd.openxmlformats-officedocument.presentationml.tags+xml"/>
  <Override PartName="/ppt/tags/tag49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37.xml" ContentType="application/vnd.openxmlformats-officedocument.presentationml.tags+xml"/>
  <Override PartName="/ppt/tags/tag56.xml" ContentType="application/vnd.openxmlformats-officedocument.presentationml.tags+xml"/>
  <Override PartName="/ppt/slideLayouts/slideLayout4.xml" ContentType="application/vnd.openxmlformats-officedocument.presentationml.slideLayout+xml"/>
  <Override PartName="/ppt/tags/tag8.xml" ContentType="application/vnd.openxmlformats-officedocument.presentationml.tags+xml"/>
  <Override PartName="/ppt/slides/slide10.xml" ContentType="application/vnd.openxmlformats-officedocument.presentationml.slide+xml"/>
  <Override PartName="/ppt/slides/slide6.xml" ContentType="application/vnd.openxmlformats-officedocument.presentationml.slide+xml"/>
  <Override PartName="/ppt/tags/tag23.xml" ContentType="application/vnd.openxmlformats-officedocument.presentationml.tags+xml"/>
  <Override PartName="/ppt/tags/tag42.xml" ContentType="application/vnd.openxmlformats-officedocument.presentationml.tags+xml"/>
  <Override PartName="/ppt/tags/tag61.xml" ContentType="application/vnd.openxmlformats-officedocument.presentationml.tags+xml"/>
  <Override PartName="/ppt/tags/tag75.xml" ContentType="application/vnd.openxmlformats-officedocument.presentationml.tags+xml"/>
  <Override PartName="/ppt/embeddings/oleObject1.bin" ContentType="application/vnd.openxmlformats-officedocument.oleObject"/>
  <Default Extension="png" ContentType="image/png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852" r:id="rId1"/>
  </p:sldMasterIdLst>
  <p:notesMasterIdLst>
    <p:notesMasterId r:id="rId22"/>
  </p:notesMasterIdLst>
  <p:sldIdLst>
    <p:sldId id="256" r:id="rId2"/>
    <p:sldId id="263" r:id="rId3"/>
    <p:sldId id="262" r:id="rId4"/>
    <p:sldId id="278" r:id="rId5"/>
    <p:sldId id="279" r:id="rId6"/>
    <p:sldId id="280" r:id="rId7"/>
    <p:sldId id="272" r:id="rId8"/>
    <p:sldId id="288" r:id="rId9"/>
    <p:sldId id="265" r:id="rId10"/>
    <p:sldId id="286" r:id="rId11"/>
    <p:sldId id="264" r:id="rId12"/>
    <p:sldId id="285" r:id="rId13"/>
    <p:sldId id="287" r:id="rId14"/>
    <p:sldId id="266" r:id="rId15"/>
    <p:sldId id="267" r:id="rId16"/>
    <p:sldId id="273" r:id="rId17"/>
    <p:sldId id="274" r:id="rId18"/>
    <p:sldId id="271" r:id="rId19"/>
    <p:sldId id="275" r:id="rId20"/>
    <p:sldId id="284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snapVertSplitter="1" vertBarState="minimized">
    <p:restoredLeft sz="15594" autoAdjust="0"/>
    <p:restoredTop sz="87629" autoAdjust="0"/>
  </p:normalViewPr>
  <p:slideViewPr>
    <p:cSldViewPr>
      <p:cViewPr>
        <p:scale>
          <a:sx n="100" d="100"/>
          <a:sy n="100" d="100"/>
        </p:scale>
        <p:origin x="-1776" y="-33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printerSettings" Target="printerSettings/printerSettings1.bin"/><Relationship Id="rId24" Type="http://schemas.openxmlformats.org/officeDocument/2006/relationships/presProps" Target="presProps.xml"/><Relationship Id="rId25" Type="http://schemas.openxmlformats.org/officeDocument/2006/relationships/viewProps" Target="viewProps.xml"/><Relationship Id="rId26" Type="http://schemas.openxmlformats.org/officeDocument/2006/relationships/theme" Target="theme/theme1.xml"/><Relationship Id="rId27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Relationship Id="rId2" Type="http://schemas.openxmlformats.org/officeDocument/2006/relationships/image" Target="../media/image6.emf"/><Relationship Id="rId3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D60526-6AC5-4F80-AE72-E4CE9D22BDE1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990C4B-C46F-46B4-AE98-C2A049479750}" type="slidenum">
              <a:rPr lang="en-NZ" smtClean="0"/>
              <a:pPr/>
              <a:t>‹#›</a:t>
            </a:fld>
            <a:endParaRPr lang="en-N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990C4B-C46F-46B4-AE98-C2A049479750}" type="slidenum">
              <a:rPr lang="en-NZ" smtClean="0"/>
              <a:pPr/>
              <a:t>2</a:t>
            </a:fld>
            <a:endParaRPr lang="en-NZ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8638" y="1177925"/>
            <a:ext cx="10414001" cy="7810500"/>
          </a:xfrm>
          <a:ln/>
        </p:spPr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1143" y="342384"/>
            <a:ext cx="5842120" cy="281877"/>
          </a:xfrm>
          <a:noFill/>
          <a:ln/>
        </p:spPr>
        <p:txBody>
          <a:bodyPr/>
          <a:lstStyle/>
          <a:p>
            <a:endParaRPr lang="zh-CN" altLang="zh-CN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990C4B-C46F-46B4-AE98-C2A049479750}" type="slidenum">
              <a:rPr lang="en-NZ" smtClean="0"/>
              <a:pPr/>
              <a:t>7</a:t>
            </a:fld>
            <a:endParaRPr lang="en-NZ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990C4B-C46F-46B4-AE98-C2A049479750}" type="slidenum">
              <a:rPr lang="en-NZ" smtClean="0"/>
              <a:pPr/>
              <a:t>10</a:t>
            </a:fld>
            <a:endParaRPr lang="en-NZ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990C4B-C46F-46B4-AE98-C2A049479750}" type="slidenum">
              <a:rPr lang="en-NZ" smtClean="0"/>
              <a:pPr/>
              <a:t>11</a:t>
            </a:fld>
            <a:endParaRPr lang="en-NZ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990C4B-C46F-46B4-AE98-C2A049479750}" type="slidenum">
              <a:rPr lang="en-NZ" smtClean="0"/>
              <a:pPr/>
              <a:t>14</a:t>
            </a:fld>
            <a:endParaRPr lang="en-NZ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990C4B-C46F-46B4-AE98-C2A049479750}" type="slidenum">
              <a:rPr lang="en-NZ" smtClean="0"/>
              <a:pPr/>
              <a:t>17</a:t>
            </a:fld>
            <a:endParaRPr lang="en-NZ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286000" y="3124200"/>
            <a:ext cx="6172200" cy="1894362"/>
          </a:xfrm>
        </p:spPr>
        <p:txBody>
          <a:bodyPr/>
          <a:lstStyle>
            <a:lvl1pPr>
              <a:defRPr b="1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286000" y="5003322"/>
            <a:ext cx="6172200" cy="1371600"/>
          </a:xfrm>
        </p:spPr>
        <p:txBody>
          <a:bodyPr/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4621" y="1174097"/>
            <a:ext cx="2286000" cy="381000"/>
          </a:xfrm>
        </p:spPr>
        <p:txBody>
          <a:bodyPr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269" y="4181669"/>
            <a:ext cx="3657600" cy="384048"/>
          </a:xfrm>
        </p:spPr>
        <p:txBody>
          <a:bodyPr/>
          <a:lstStyle/>
          <a:p>
            <a:endParaRPr lang="en-NZ"/>
          </a:p>
        </p:txBody>
      </p:sp>
      <p:sp>
        <p:nvSpPr>
          <p:cNvPr id="10" name="Rectangle 9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ectangle 11"/>
          <p:cNvSpPr/>
          <p:nvPr/>
        </p:nvSpPr>
        <p:spPr bwMode="auto">
          <a:xfrm>
            <a:off x="276336" y="0"/>
            <a:ext cx="104664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4" name="Rectangle 13"/>
          <p:cNvSpPr/>
          <p:nvPr/>
        </p:nvSpPr>
        <p:spPr bwMode="auto">
          <a:xfrm>
            <a:off x="990600" y="0"/>
            <a:ext cx="181872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9" name="Rectangle 18"/>
          <p:cNvSpPr/>
          <p:nvPr/>
        </p:nvSpPr>
        <p:spPr bwMode="auto">
          <a:xfrm>
            <a:off x="1141320" y="0"/>
            <a:ext cx="230280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Straight Connector 10"/>
          <p:cNvSpPr>
            <a:spLocks noChangeShapeType="1"/>
          </p:cNvSpPr>
          <p:nvPr/>
        </p:nvSpPr>
        <p:spPr bwMode="auto">
          <a:xfrm>
            <a:off x="106344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8" name="Straight Connector 17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0" name="Straight Connector 19"/>
          <p:cNvSpPr>
            <a:spLocks noChangeShapeType="1"/>
          </p:cNvSpPr>
          <p:nvPr/>
        </p:nvSpPr>
        <p:spPr bwMode="auto">
          <a:xfrm>
            <a:off x="854112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Straight Connector 15"/>
          <p:cNvSpPr>
            <a:spLocks noChangeShapeType="1"/>
          </p:cNvSpPr>
          <p:nvPr/>
        </p:nvSpPr>
        <p:spPr bwMode="auto">
          <a:xfrm>
            <a:off x="172664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5" name="Straight Connector 14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2" name="Straight Connector 21"/>
          <p:cNvSpPr>
            <a:spLocks noChangeShapeType="1"/>
          </p:cNvSpPr>
          <p:nvPr/>
        </p:nvSpPr>
        <p:spPr bwMode="auto">
          <a:xfrm>
            <a:off x="9113856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7" name="Rectangle 26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609600" y="3429000"/>
            <a:ext cx="1661160" cy="2633472"/>
            <a:chOff x="609600" y="3429000"/>
            <a:chExt cx="1661160" cy="2633472"/>
          </a:xfrm>
          <a:effectLst>
            <a:outerShdw blurRad="50800" dist="50800" dir="5400000" algn="ctr" rotWithShape="0">
              <a:schemeClr val="bg1"/>
            </a:outerShdw>
          </a:effectLst>
        </p:grpSpPr>
        <p:sp>
          <p:nvSpPr>
            <p:cNvPr id="21" name="Oval 20"/>
            <p:cNvSpPr/>
            <p:nvPr/>
          </p:nvSpPr>
          <p:spPr bwMode="auto">
            <a:xfrm>
              <a:off x="609600" y="3429000"/>
              <a:ext cx="1295400" cy="1295400"/>
            </a:xfrm>
            <a:prstGeom prst="ellipse">
              <a:avLst/>
            </a:prstGeom>
            <a:solidFill>
              <a:schemeClr val="accent1"/>
            </a:solidFill>
            <a:ln w="38100" cap="rnd" cmpd="sng" algn="ctr">
              <a:solidFill>
                <a:srgbClr val="00B0F0">
                  <a:alpha val="94000"/>
                </a:srgbClr>
              </a:solidFill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latinLnBrk="0" hangingPunct="1"/>
              <a:endParaRPr kumimoji="0" lang="en-US" dirty="0"/>
            </a:p>
          </p:txBody>
        </p:sp>
        <p:sp>
          <p:nvSpPr>
            <p:cNvPr id="23" name="Oval 22"/>
            <p:cNvSpPr/>
            <p:nvPr/>
          </p:nvSpPr>
          <p:spPr bwMode="auto">
            <a:xfrm>
              <a:off x="1309632" y="4866752"/>
              <a:ext cx="641424" cy="641424"/>
            </a:xfrm>
            <a:prstGeom prst="ellipse">
              <a:avLst/>
            </a:prstGeom>
            <a:ln w="28575" cap="rnd" cmpd="sng" algn="ctr">
              <a:solidFill>
                <a:srgbClr val="00B0F0">
                  <a:alpha val="94000"/>
                </a:srgbClr>
              </a:solidFill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latinLnBrk="0" hangingPunct="1"/>
              <a:endParaRPr kumimoji="0" lang="en-US" dirty="0"/>
            </a:p>
          </p:txBody>
        </p:sp>
        <p:sp>
          <p:nvSpPr>
            <p:cNvPr id="24" name="Oval 23"/>
            <p:cNvSpPr/>
            <p:nvPr/>
          </p:nvSpPr>
          <p:spPr bwMode="auto">
            <a:xfrm>
              <a:off x="1091080" y="5500632"/>
              <a:ext cx="137160" cy="137160"/>
            </a:xfrm>
            <a:prstGeom prst="ellipse">
              <a:avLst/>
            </a:prstGeom>
            <a:ln w="12700" cap="rnd" cmpd="sng" algn="ctr">
              <a:solidFill>
                <a:srgbClr val="00B0F0">
                  <a:alpha val="94000"/>
                </a:srgbClr>
              </a:solidFill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latinLnBrk="0" hangingPunct="1"/>
              <a:endParaRPr kumimoji="0" lang="en-US" dirty="0"/>
            </a:p>
          </p:txBody>
        </p:sp>
        <p:sp>
          <p:nvSpPr>
            <p:cNvPr id="26" name="Oval 25"/>
            <p:cNvSpPr/>
            <p:nvPr/>
          </p:nvSpPr>
          <p:spPr bwMode="auto">
            <a:xfrm>
              <a:off x="1664208" y="5788152"/>
              <a:ext cx="274320" cy="274320"/>
            </a:xfrm>
            <a:prstGeom prst="ellipse">
              <a:avLst/>
            </a:prstGeom>
            <a:ln w="12700" cap="rnd" cmpd="sng" algn="ctr">
              <a:solidFill>
                <a:srgbClr val="00B0F0">
                  <a:alpha val="94000"/>
                </a:srgbClr>
              </a:solidFill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latinLnBrk="0" hangingPunct="1"/>
              <a:endParaRPr kumimoji="0" lang="en-US" dirty="0"/>
            </a:p>
          </p:txBody>
        </p:sp>
        <p:sp>
          <p:nvSpPr>
            <p:cNvPr id="25" name="Oval 24"/>
            <p:cNvSpPr/>
            <p:nvPr/>
          </p:nvSpPr>
          <p:spPr>
            <a:xfrm>
              <a:off x="1905000" y="4495800"/>
              <a:ext cx="365760" cy="365760"/>
            </a:xfrm>
            <a:prstGeom prst="ellipse">
              <a:avLst/>
            </a:prstGeom>
            <a:ln w="28575" cap="rnd" cmpd="sng" algn="ctr">
              <a:solidFill>
                <a:srgbClr val="00B0F0">
                  <a:alpha val="94000"/>
                </a:srgbClr>
              </a:solidFill>
              <a:prstDash val="solid"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latinLnBrk="0" hangingPunct="1"/>
              <a:endParaRPr kumimoji="0" lang="en-US" dirty="0"/>
            </a:p>
          </p:txBody>
        </p:sp>
      </p:grp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 bwMode="auto">
          <a:xfrm>
            <a:off x="1325544" y="4928702"/>
            <a:ext cx="609600" cy="517524"/>
          </a:xfrm>
        </p:spPr>
        <p:txBody>
          <a:bodyPr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1676400" cy="5851525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7467600" cy="4873752"/>
          </a:xfrm>
        </p:spPr>
        <p:txBody>
          <a:bodyPr/>
          <a:lstStyle/>
          <a:p>
            <a:pPr lvl="0" eaLnBrk="1" latinLnBrk="0" hangingPunct="1"/>
            <a:r>
              <a:rPr lang="en-US" dirty="0" smtClean="0"/>
              <a:t>Click to edit Master text styles</a:t>
            </a:r>
          </a:p>
          <a:p>
            <a:pPr lvl="1" eaLnBrk="1" latinLnBrk="0" hangingPunct="1"/>
            <a:r>
              <a:rPr lang="en-US" dirty="0" smtClean="0"/>
              <a:t>Second level</a:t>
            </a:r>
          </a:p>
          <a:p>
            <a:pPr lvl="2" eaLnBrk="1" latinLnBrk="0" hangingPunct="1"/>
            <a:r>
              <a:rPr lang="en-US" dirty="0" smtClean="0"/>
              <a:t>Third level</a:t>
            </a:r>
          </a:p>
          <a:p>
            <a:pPr lvl="3" eaLnBrk="1" latinLnBrk="0" hangingPunct="1"/>
            <a:r>
              <a:rPr lang="en-US" dirty="0" smtClean="0"/>
              <a:t>Fourth level</a:t>
            </a:r>
          </a:p>
          <a:p>
            <a:pPr lvl="4" eaLnBrk="1" latinLnBrk="0" hangingPunct="1"/>
            <a:r>
              <a:rPr lang="en-US" dirty="0" smtClean="0"/>
              <a:t>Fifth level</a:t>
            </a:r>
            <a:endParaRPr kumimoji="0"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5"/>
          </p:nvPr>
        </p:nvSpPr>
        <p:spPr>
          <a:ln>
            <a:noFill/>
          </a:ln>
        </p:spPr>
        <p:txBody>
          <a:bodyPr rtlCol="0"/>
          <a:lstStyle/>
          <a:p>
            <a:r>
              <a:rPr lang="en-NZ" dirty="0" smtClean="0"/>
              <a:t>2</a:t>
            </a:r>
            <a:endParaRPr lang="en-NZ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en-N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2895600"/>
            <a:ext cx="6172200" cy="2053590"/>
          </a:xfrm>
        </p:spPr>
        <p:txBody>
          <a:bodyPr/>
          <a:lstStyle>
            <a:lvl1pPr algn="l">
              <a:buNone/>
              <a:defRPr sz="3000" b="1" cap="sm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0" y="5010150"/>
            <a:ext cx="6172200" cy="1371600"/>
          </a:xfrm>
        </p:spPr>
        <p:txBody>
          <a:bodyPr anchor="t"/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>
          <a:xfrm rot="5400000">
            <a:off x="7763256" y="1170432"/>
            <a:ext cx="2286000" cy="381000"/>
          </a:xfrm>
        </p:spPr>
        <p:txBody>
          <a:bodyPr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7077456" y="4178808"/>
            <a:ext cx="3657600" cy="384048"/>
          </a:xfrm>
        </p:spPr>
        <p:txBody>
          <a:bodyPr/>
          <a:lstStyle/>
          <a:p>
            <a:endParaRPr lang="en-NZ"/>
          </a:p>
        </p:txBody>
      </p:sp>
      <p:sp>
        <p:nvSpPr>
          <p:cNvPr id="9" name="Rectangle 8"/>
          <p:cNvSpPr/>
          <p:nvPr/>
        </p:nvSpPr>
        <p:spPr bwMode="auto">
          <a:xfrm>
            <a:off x="381000" y="0"/>
            <a:ext cx="609600" cy="6858000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276336" y="0"/>
            <a:ext cx="104664" cy="6858000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 bwMode="auto">
          <a:xfrm>
            <a:off x="990600" y="0"/>
            <a:ext cx="181872" cy="6858000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ectangle 11"/>
          <p:cNvSpPr/>
          <p:nvPr/>
        </p:nvSpPr>
        <p:spPr bwMode="auto">
          <a:xfrm>
            <a:off x="1141320" y="0"/>
            <a:ext cx="230280" cy="6858000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Straight Connector 12"/>
          <p:cNvSpPr>
            <a:spLocks noChangeShapeType="1"/>
          </p:cNvSpPr>
          <p:nvPr/>
        </p:nvSpPr>
        <p:spPr bwMode="auto">
          <a:xfrm>
            <a:off x="106344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Straight Connector 13"/>
          <p:cNvSpPr>
            <a:spLocks noChangeShapeType="1"/>
          </p:cNvSpPr>
          <p:nvPr/>
        </p:nvSpPr>
        <p:spPr bwMode="auto">
          <a:xfrm>
            <a:off x="914400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5" name="Straight Connector 14"/>
          <p:cNvSpPr>
            <a:spLocks noChangeShapeType="1"/>
          </p:cNvSpPr>
          <p:nvPr/>
        </p:nvSpPr>
        <p:spPr bwMode="auto">
          <a:xfrm>
            <a:off x="854112" y="0"/>
            <a:ext cx="0" cy="6858000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Straight Connector 15"/>
          <p:cNvSpPr>
            <a:spLocks noChangeShapeType="1"/>
          </p:cNvSpPr>
          <p:nvPr/>
        </p:nvSpPr>
        <p:spPr bwMode="auto">
          <a:xfrm>
            <a:off x="1726640" y="0"/>
            <a:ext cx="0" cy="6858000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7" name="Straight Connector 16"/>
          <p:cNvSpPr>
            <a:spLocks noChangeShapeType="1"/>
          </p:cNvSpPr>
          <p:nvPr/>
        </p:nvSpPr>
        <p:spPr bwMode="auto">
          <a:xfrm>
            <a:off x="10668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8" name="Rectangle 17"/>
          <p:cNvSpPr/>
          <p:nvPr/>
        </p:nvSpPr>
        <p:spPr bwMode="auto">
          <a:xfrm>
            <a:off x="1219200" y="0"/>
            <a:ext cx="76200" cy="6858000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9" name="Oval 18"/>
          <p:cNvSpPr/>
          <p:nvPr/>
        </p:nvSpPr>
        <p:spPr bwMode="auto">
          <a:xfrm>
            <a:off x="609600" y="3429000"/>
            <a:ext cx="1295400" cy="129540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0" name="Oval 19"/>
          <p:cNvSpPr/>
          <p:nvPr/>
        </p:nvSpPr>
        <p:spPr bwMode="auto">
          <a:xfrm>
            <a:off x="1324704" y="4866752"/>
            <a:ext cx="641424" cy="641424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1" name="Oval 20"/>
          <p:cNvSpPr/>
          <p:nvPr/>
        </p:nvSpPr>
        <p:spPr bwMode="auto">
          <a:xfrm>
            <a:off x="1091080" y="5500632"/>
            <a:ext cx="137160" cy="13716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Oval 21"/>
          <p:cNvSpPr/>
          <p:nvPr/>
        </p:nvSpPr>
        <p:spPr bwMode="auto">
          <a:xfrm>
            <a:off x="1664208" y="5791200"/>
            <a:ext cx="274320" cy="274320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Oval 22"/>
          <p:cNvSpPr/>
          <p:nvPr/>
        </p:nvSpPr>
        <p:spPr bwMode="auto">
          <a:xfrm>
            <a:off x="1879040" y="4479888"/>
            <a:ext cx="365760" cy="36576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Straight Connector 25"/>
          <p:cNvSpPr>
            <a:spLocks noChangeShapeType="1"/>
          </p:cNvSpPr>
          <p:nvPr/>
        </p:nvSpPr>
        <p:spPr bwMode="auto">
          <a:xfrm>
            <a:off x="9097944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1340616" y="4928702"/>
            <a:ext cx="609600" cy="517524"/>
          </a:xfrm>
        </p:spPr>
        <p:txBody>
          <a:bodyPr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457200" y="1600200"/>
            <a:ext cx="36576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270248" y="1600200"/>
            <a:ext cx="36576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7543800" cy="1143000"/>
          </a:xfrm>
        </p:spPr>
        <p:txBody>
          <a:bodyPr anchor="b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57200" y="2362200"/>
            <a:ext cx="3657600" cy="38862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371975" y="2362200"/>
            <a:ext cx="3657600" cy="38862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"/>
          </p:nvPr>
        </p:nvSpPr>
        <p:spPr>
          <a:xfrm>
            <a:off x="4572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3"/>
          </p:nvPr>
        </p:nvSpPr>
        <p:spPr>
          <a:xfrm>
            <a:off x="4343400" y="1569720"/>
            <a:ext cx="3657600" cy="65836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en-N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type="objTx" preserve="1">
  <p:cSld name="Content with Captio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traight Connector 9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5400000">
            <a:off x="3371850" y="3200400"/>
            <a:ext cx="6309360" cy="457200"/>
          </a:xfrm>
        </p:spPr>
        <p:txBody>
          <a:bodyPr anchor="b"/>
          <a:lstStyle>
            <a:lvl1pPr algn="l">
              <a:buNone/>
              <a:defRPr sz="2000" b="1" cap="sm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812280" y="274320"/>
            <a:ext cx="1527048" cy="4983480"/>
          </a:xfrm>
        </p:spPr>
        <p:txBody>
          <a:bodyPr/>
          <a:lstStyle>
            <a:lvl1pPr marL="0" indent="0">
              <a:spcBef>
                <a:spcPts val="400"/>
              </a:spcBef>
              <a:spcAft>
                <a:spcPts val="1000"/>
              </a:spcAft>
              <a:buNone/>
              <a:defRPr sz="12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8" name="Straight Connector 7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6192296" y="0"/>
            <a:ext cx="0" cy="685800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11" name="Straight Connector 10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Rectangle 11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Straight Connector 12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4" name="Oval 13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"/>
          </p:nvPr>
        </p:nvSpPr>
        <p:spPr>
          <a:xfrm>
            <a:off x="304800" y="274320"/>
            <a:ext cx="5638800" cy="6327648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21" name="Date Placeholder 20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  <p:sp>
        <p:nvSpPr>
          <p:cNvPr id="23" name="Footer Placeholder 22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en-NZ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3" name="Oval 12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5400000">
            <a:off x="3350133" y="3200400"/>
            <a:ext cx="6309360" cy="457200"/>
          </a:xfrm>
        </p:spPr>
        <p:txBody>
          <a:bodyPr anchor="b"/>
          <a:lstStyle>
            <a:lvl1pPr algn="l">
              <a:buNone/>
              <a:defRPr sz="2000" b="1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6172200" cy="6858000"/>
          </a:xfrm>
          <a:solidFill>
            <a:schemeClr val="bg2"/>
          </a:solidFill>
          <a:ln w="1270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buNone/>
              <a:defRPr sz="3200"/>
            </a:lvl1pPr>
          </a:lstStyle>
          <a:p>
            <a:pPr algn="ctr" eaLnBrk="1" latinLnBrk="0" hangingPunct="1">
              <a:buFontTx/>
              <a:buNone/>
            </a:pPr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5798" y="264795"/>
            <a:ext cx="1524000" cy="4956048"/>
          </a:xfrm>
        </p:spPr>
        <p:txBody>
          <a:bodyPr rot="0" spcFirstLastPara="0" vertOverflow="overflow" horzOverflow="overflow" vert="horz" wrap="square" lIns="91440" tIns="45720" rIns="91440" bIns="45720" numCol="1" spcCol="274320" rtlCol="0" fromWordArt="0" anchor="t" anchorCtr="0" forceAA="0" compatLnSpc="1">
            <a:normAutofit/>
          </a:bodyPr>
          <a:lstStyle>
            <a:lvl1pPr marL="0" indent="0">
              <a:spcBef>
                <a:spcPts val="100"/>
              </a:spcBef>
              <a:spcAft>
                <a:spcPts val="400"/>
              </a:spcAft>
              <a:buFontTx/>
              <a:buNone/>
              <a:defRPr sz="12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0" name="Straight Connector 9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1" name="Rectangle 10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Straight Connector 11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9" name="Straight Connector 18"/>
          <p:cNvSpPr>
            <a:spLocks noChangeShapeType="1"/>
          </p:cNvSpPr>
          <p:nvPr/>
        </p:nvSpPr>
        <p:spPr bwMode="auto">
          <a:xfrm>
            <a:off x="62484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0" name="Straight Connector 19"/>
          <p:cNvSpPr>
            <a:spLocks noChangeShapeType="1"/>
          </p:cNvSpPr>
          <p:nvPr/>
        </p:nvSpPr>
        <p:spPr bwMode="auto">
          <a:xfrm>
            <a:off x="6192296" y="0"/>
            <a:ext cx="0" cy="685800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en-N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traight Connector 15"/>
          <p:cNvSpPr>
            <a:spLocks noChangeShapeType="1"/>
          </p:cNvSpPr>
          <p:nvPr/>
        </p:nvSpPr>
        <p:spPr bwMode="auto">
          <a:xfrm>
            <a:off x="8763000" y="0"/>
            <a:ext cx="0" cy="6858000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 dirty="0"/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anchor="b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87375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 rot="5400000">
            <a:off x="7589520" y="1081851"/>
            <a:ext cx="2011680" cy="384048"/>
          </a:xfrm>
          <a:prstGeom prst="rect">
            <a:avLst/>
          </a:prstGeom>
        </p:spPr>
        <p:txBody>
          <a:bodyPr vert="horz" anchor="ctr" anchorCtr="0"/>
          <a:lstStyle>
            <a:lvl1pPr algn="r" eaLnBrk="1" latinLnBrk="0" hangingPunct="1">
              <a:defRPr kumimoji="0" sz="1200">
                <a:solidFill>
                  <a:schemeClr val="tx2"/>
                </a:solidFill>
              </a:defRPr>
            </a:lvl1pPr>
          </a:lstStyle>
          <a:p>
            <a:fld id="{25E9BA33-4D59-44BE-9876-BD9744EBFF17}" type="datetimeFigureOut">
              <a:rPr lang="en-US" smtClean="0"/>
              <a:pPr/>
              <a:t>8/7/11</a:t>
            </a:fld>
            <a:endParaRPr lang="en-N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 rot="5400000">
            <a:off x="6990186" y="3737240"/>
            <a:ext cx="3200400" cy="365760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200">
                <a:solidFill>
                  <a:schemeClr val="tx2"/>
                </a:solidFill>
              </a:defRPr>
            </a:lvl1pPr>
          </a:lstStyle>
          <a:p>
            <a:endParaRPr lang="en-NZ"/>
          </a:p>
        </p:txBody>
      </p:sp>
      <p:sp>
        <p:nvSpPr>
          <p:cNvPr id="7" name="Straight Connector 6"/>
          <p:cNvSpPr>
            <a:spLocks noChangeShapeType="1"/>
          </p:cNvSpPr>
          <p:nvPr/>
        </p:nvSpPr>
        <p:spPr bwMode="auto">
          <a:xfrm>
            <a:off x="76200" y="0"/>
            <a:ext cx="0" cy="6858000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>
            <a:off x="8991600" y="0"/>
            <a:ext cx="0" cy="6858000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8839200" y="0"/>
            <a:ext cx="304800" cy="6858000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Straight Connector 10"/>
          <p:cNvSpPr>
            <a:spLocks noChangeShapeType="1"/>
          </p:cNvSpPr>
          <p:nvPr/>
        </p:nvSpPr>
        <p:spPr bwMode="auto">
          <a:xfrm>
            <a:off x="8915400" y="0"/>
            <a:ext cx="0" cy="6858000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Oval 11"/>
          <p:cNvSpPr/>
          <p:nvPr/>
        </p:nvSpPr>
        <p:spPr>
          <a:xfrm>
            <a:off x="8156448" y="5715000"/>
            <a:ext cx="548640" cy="548640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29016" y="5734050"/>
            <a:ext cx="609600" cy="521208"/>
          </a:xfrm>
          <a:prstGeom prst="rect">
            <a:avLst/>
          </a:prstGeom>
        </p:spPr>
        <p:txBody>
          <a:bodyPr vert="horz" anchor="ctr"/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4665BA9F-5A53-4A6C-958A-1C2949D58622}" type="slidenum">
              <a:rPr lang="en-NZ" smtClean="0"/>
              <a:pPr/>
              <a:t>‹#›</a:t>
            </a:fld>
            <a:endParaRPr lang="en-N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txStyles>
    <p:titleStyle>
      <a:lvl1pPr algn="l" rtl="0" eaLnBrk="1" latinLnBrk="0" hangingPunct="1">
        <a:spcBef>
          <a:spcPct val="0"/>
        </a:spcBef>
        <a:buNone/>
        <a:defRPr kumimoji="0" sz="3000" b="0" kern="1200" cap="sm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600"/>
        </a:spcBef>
        <a:buClr>
          <a:schemeClr val="accent1"/>
        </a:buClr>
        <a:buSzPct val="70000"/>
        <a:buFont typeface="Wingdings"/>
        <a:buChar char="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SzPct val="60000"/>
        <a:buFont typeface="Wingdings"/>
        <a:buChar char="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182880" algn="l" rtl="0" eaLnBrk="1" latinLnBrk="0" hangingPunct="1">
        <a:spcBef>
          <a:spcPct val="20000"/>
        </a:spcBef>
        <a:buClr>
          <a:schemeClr val="accent2">
            <a:tint val="60000"/>
          </a:schemeClr>
        </a:buClr>
        <a:buSzPct val="68000"/>
        <a:buFont typeface="Wingdings 2"/>
        <a:buChar char="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rtl="0" eaLnBrk="1" latinLnBrk="0" hangingPunct="1">
        <a:spcBef>
          <a:spcPct val="20000"/>
        </a:spcBef>
        <a:buClr>
          <a:schemeClr val="accent1"/>
        </a:buClr>
        <a:buChar char="•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2011680" indent="-182880" algn="l" rtl="0" eaLnBrk="1" latinLnBrk="0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ct val="20000"/>
        </a:spcBef>
        <a:buClr>
          <a:schemeClr val="accent2"/>
        </a:buClr>
        <a:buChar char="•"/>
        <a:defRPr kumimoji="0" sz="1400" kern="1200" cap="small" baseline="0">
          <a:solidFill>
            <a:schemeClr val="tx2"/>
          </a:solidFill>
          <a:latin typeface="+mn-lt"/>
          <a:ea typeface="+mn-ea"/>
          <a:cs typeface="+mn-cs"/>
        </a:defRPr>
      </a:lvl8pPr>
      <a:lvl9pPr marL="2560320" indent="-182880" algn="l" rtl="0" eaLnBrk="1" latinLnBrk="0" hangingPunct="1">
        <a:spcBef>
          <a:spcPct val="20000"/>
        </a:spcBef>
        <a:buClr>
          <a:schemeClr val="accent1">
            <a:shade val="75000"/>
          </a:schemeClr>
        </a:buClr>
        <a:buChar char="•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jpeg"/><Relationship Id="rId3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3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jpeg"/><Relationship Id="rId3" Type="http://schemas.openxmlformats.org/officeDocument/2006/relationships/image" Target="../media/image15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6.jpeg"/><Relationship Id="rId3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4" Type="http://schemas.openxmlformats.org/officeDocument/2006/relationships/tags" Target="../tags/tag13.xml"/><Relationship Id="rId15" Type="http://schemas.openxmlformats.org/officeDocument/2006/relationships/tags" Target="../tags/tag14.xml"/><Relationship Id="rId16" Type="http://schemas.openxmlformats.org/officeDocument/2006/relationships/tags" Target="../tags/tag15.xml"/><Relationship Id="rId17" Type="http://schemas.openxmlformats.org/officeDocument/2006/relationships/tags" Target="../tags/tag16.xml"/><Relationship Id="rId18" Type="http://schemas.openxmlformats.org/officeDocument/2006/relationships/tags" Target="../tags/tag17.xml"/><Relationship Id="rId19" Type="http://schemas.openxmlformats.org/officeDocument/2006/relationships/tags" Target="../tags/tag18.xml"/><Relationship Id="rId63" Type="http://schemas.openxmlformats.org/officeDocument/2006/relationships/tags" Target="../tags/tag62.xml"/><Relationship Id="rId64" Type="http://schemas.openxmlformats.org/officeDocument/2006/relationships/tags" Target="../tags/tag63.xml"/><Relationship Id="rId65" Type="http://schemas.openxmlformats.org/officeDocument/2006/relationships/tags" Target="../tags/tag64.xml"/><Relationship Id="rId66" Type="http://schemas.openxmlformats.org/officeDocument/2006/relationships/tags" Target="../tags/tag65.xml"/><Relationship Id="rId67" Type="http://schemas.openxmlformats.org/officeDocument/2006/relationships/tags" Target="../tags/tag66.xml"/><Relationship Id="rId68" Type="http://schemas.openxmlformats.org/officeDocument/2006/relationships/tags" Target="../tags/tag67.xml"/><Relationship Id="rId69" Type="http://schemas.openxmlformats.org/officeDocument/2006/relationships/tags" Target="../tags/tag68.xml"/><Relationship Id="rId50" Type="http://schemas.openxmlformats.org/officeDocument/2006/relationships/tags" Target="../tags/tag49.xml"/><Relationship Id="rId51" Type="http://schemas.openxmlformats.org/officeDocument/2006/relationships/tags" Target="../tags/tag50.xml"/><Relationship Id="rId52" Type="http://schemas.openxmlformats.org/officeDocument/2006/relationships/tags" Target="../tags/tag51.xml"/><Relationship Id="rId53" Type="http://schemas.openxmlformats.org/officeDocument/2006/relationships/tags" Target="../tags/tag52.xml"/><Relationship Id="rId54" Type="http://schemas.openxmlformats.org/officeDocument/2006/relationships/tags" Target="../tags/tag53.xml"/><Relationship Id="rId55" Type="http://schemas.openxmlformats.org/officeDocument/2006/relationships/tags" Target="../tags/tag54.xml"/><Relationship Id="rId56" Type="http://schemas.openxmlformats.org/officeDocument/2006/relationships/tags" Target="../tags/tag55.xml"/><Relationship Id="rId57" Type="http://schemas.openxmlformats.org/officeDocument/2006/relationships/tags" Target="../tags/tag56.xml"/><Relationship Id="rId58" Type="http://schemas.openxmlformats.org/officeDocument/2006/relationships/tags" Target="../tags/tag57.xml"/><Relationship Id="rId59" Type="http://schemas.openxmlformats.org/officeDocument/2006/relationships/tags" Target="../tags/tag58.xml"/><Relationship Id="rId40" Type="http://schemas.openxmlformats.org/officeDocument/2006/relationships/tags" Target="../tags/tag39.xml"/><Relationship Id="rId41" Type="http://schemas.openxmlformats.org/officeDocument/2006/relationships/tags" Target="../tags/tag40.xml"/><Relationship Id="rId42" Type="http://schemas.openxmlformats.org/officeDocument/2006/relationships/tags" Target="../tags/tag41.xml"/><Relationship Id="rId43" Type="http://schemas.openxmlformats.org/officeDocument/2006/relationships/tags" Target="../tags/tag42.xml"/><Relationship Id="rId44" Type="http://schemas.openxmlformats.org/officeDocument/2006/relationships/tags" Target="../tags/tag43.xml"/><Relationship Id="rId45" Type="http://schemas.openxmlformats.org/officeDocument/2006/relationships/tags" Target="../tags/tag44.xml"/><Relationship Id="rId46" Type="http://schemas.openxmlformats.org/officeDocument/2006/relationships/tags" Target="../tags/tag45.xml"/><Relationship Id="rId47" Type="http://schemas.openxmlformats.org/officeDocument/2006/relationships/tags" Target="../tags/tag46.xml"/><Relationship Id="rId48" Type="http://schemas.openxmlformats.org/officeDocument/2006/relationships/tags" Target="../tags/tag47.xml"/><Relationship Id="rId49" Type="http://schemas.openxmlformats.org/officeDocument/2006/relationships/tags" Target="../tags/tag48.xml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tags" Target="../tags/tag8.xml"/><Relationship Id="rId30" Type="http://schemas.openxmlformats.org/officeDocument/2006/relationships/tags" Target="../tags/tag29.xml"/><Relationship Id="rId31" Type="http://schemas.openxmlformats.org/officeDocument/2006/relationships/tags" Target="../tags/tag30.xml"/><Relationship Id="rId32" Type="http://schemas.openxmlformats.org/officeDocument/2006/relationships/tags" Target="../tags/tag31.xml"/><Relationship Id="rId33" Type="http://schemas.openxmlformats.org/officeDocument/2006/relationships/tags" Target="../tags/tag32.xml"/><Relationship Id="rId34" Type="http://schemas.openxmlformats.org/officeDocument/2006/relationships/tags" Target="../tags/tag33.xml"/><Relationship Id="rId35" Type="http://schemas.openxmlformats.org/officeDocument/2006/relationships/tags" Target="../tags/tag34.xml"/><Relationship Id="rId36" Type="http://schemas.openxmlformats.org/officeDocument/2006/relationships/tags" Target="../tags/tag35.xml"/><Relationship Id="rId37" Type="http://schemas.openxmlformats.org/officeDocument/2006/relationships/tags" Target="../tags/tag36.xml"/><Relationship Id="rId38" Type="http://schemas.openxmlformats.org/officeDocument/2006/relationships/tags" Target="../tags/tag37.xml"/><Relationship Id="rId39" Type="http://schemas.openxmlformats.org/officeDocument/2006/relationships/tags" Target="../tags/tag38.xml"/><Relationship Id="rId80" Type="http://schemas.openxmlformats.org/officeDocument/2006/relationships/slideLayout" Target="../slideLayouts/slideLayout10.xml"/><Relationship Id="rId81" Type="http://schemas.openxmlformats.org/officeDocument/2006/relationships/oleObject" Target="../embeddings/oleObject1.bin"/><Relationship Id="rId70" Type="http://schemas.openxmlformats.org/officeDocument/2006/relationships/tags" Target="../tags/tag69.xml"/><Relationship Id="rId71" Type="http://schemas.openxmlformats.org/officeDocument/2006/relationships/tags" Target="../tags/tag70.xml"/><Relationship Id="rId72" Type="http://schemas.openxmlformats.org/officeDocument/2006/relationships/tags" Target="../tags/tag71.xml"/><Relationship Id="rId20" Type="http://schemas.openxmlformats.org/officeDocument/2006/relationships/tags" Target="../tags/tag19.xml"/><Relationship Id="rId21" Type="http://schemas.openxmlformats.org/officeDocument/2006/relationships/tags" Target="../tags/tag20.xml"/><Relationship Id="rId22" Type="http://schemas.openxmlformats.org/officeDocument/2006/relationships/tags" Target="../tags/tag21.xml"/><Relationship Id="rId23" Type="http://schemas.openxmlformats.org/officeDocument/2006/relationships/tags" Target="../tags/tag22.xml"/><Relationship Id="rId24" Type="http://schemas.openxmlformats.org/officeDocument/2006/relationships/tags" Target="../tags/tag23.xml"/><Relationship Id="rId25" Type="http://schemas.openxmlformats.org/officeDocument/2006/relationships/tags" Target="../tags/tag24.xml"/><Relationship Id="rId26" Type="http://schemas.openxmlformats.org/officeDocument/2006/relationships/tags" Target="../tags/tag25.xml"/><Relationship Id="rId27" Type="http://schemas.openxmlformats.org/officeDocument/2006/relationships/tags" Target="../tags/tag26.xml"/><Relationship Id="rId28" Type="http://schemas.openxmlformats.org/officeDocument/2006/relationships/tags" Target="../tags/tag27.xml"/><Relationship Id="rId29" Type="http://schemas.openxmlformats.org/officeDocument/2006/relationships/tags" Target="../tags/tag28.xml"/><Relationship Id="rId73" Type="http://schemas.openxmlformats.org/officeDocument/2006/relationships/tags" Target="../tags/tag72.xml"/><Relationship Id="rId74" Type="http://schemas.openxmlformats.org/officeDocument/2006/relationships/tags" Target="../tags/tag73.xml"/><Relationship Id="rId75" Type="http://schemas.openxmlformats.org/officeDocument/2006/relationships/tags" Target="../tags/tag74.xml"/><Relationship Id="rId76" Type="http://schemas.openxmlformats.org/officeDocument/2006/relationships/tags" Target="../tags/tag75.xml"/><Relationship Id="rId77" Type="http://schemas.openxmlformats.org/officeDocument/2006/relationships/tags" Target="../tags/tag76.xml"/><Relationship Id="rId78" Type="http://schemas.openxmlformats.org/officeDocument/2006/relationships/tags" Target="../tags/tag77.xml"/><Relationship Id="rId79" Type="http://schemas.openxmlformats.org/officeDocument/2006/relationships/tags" Target="../tags/tag78.xml"/><Relationship Id="rId60" Type="http://schemas.openxmlformats.org/officeDocument/2006/relationships/tags" Target="../tags/tag59.xml"/><Relationship Id="rId61" Type="http://schemas.openxmlformats.org/officeDocument/2006/relationships/tags" Target="../tags/tag60.xml"/><Relationship Id="rId62" Type="http://schemas.openxmlformats.org/officeDocument/2006/relationships/tags" Target="../tags/tag61.xml"/><Relationship Id="rId10" Type="http://schemas.openxmlformats.org/officeDocument/2006/relationships/tags" Target="../tags/tag9.xml"/><Relationship Id="rId11" Type="http://schemas.openxmlformats.org/officeDocument/2006/relationships/tags" Target="../tags/tag10.xml"/><Relationship Id="rId12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4" Type="http://schemas.openxmlformats.org/officeDocument/2006/relationships/notesSlide" Target="../notesSlides/notesSlide2.xml"/><Relationship Id="rId5" Type="http://schemas.openxmlformats.org/officeDocument/2006/relationships/oleObject" Target="../embeddings/oleObject2.bin"/><Relationship Id="rId6" Type="http://schemas.openxmlformats.org/officeDocument/2006/relationships/oleObject" Target="../embeddings/oleObject3.bin"/><Relationship Id="rId7" Type="http://schemas.openxmlformats.org/officeDocument/2006/relationships/oleObject" Target="../embeddings/oleObject4.bin"/><Relationship Id="rId8" Type="http://schemas.openxmlformats.org/officeDocument/2006/relationships/oleObject" Target="../embeddings/oleObject5.bin"/><Relationship Id="rId9" Type="http://schemas.openxmlformats.org/officeDocument/2006/relationships/image" Target="../media/image8.wmf"/><Relationship Id="rId10" Type="http://schemas.openxmlformats.org/officeDocument/2006/relationships/image" Target="../media/image9.png"/><Relationship Id="rId1" Type="http://schemas.openxmlformats.org/officeDocument/2006/relationships/vmlDrawing" Target="../drawings/vmlDrawing2.vml"/><Relationship Id="rId2" Type="http://schemas.openxmlformats.org/officeDocument/2006/relationships/tags" Target="../tags/tag7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>
            <a:alpha val="7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3124200"/>
            <a:ext cx="5572148" cy="1894362"/>
          </a:xfrm>
        </p:spPr>
        <p:txBody>
          <a:bodyPr/>
          <a:lstStyle/>
          <a:p>
            <a:r>
              <a:rPr lang="en-US" dirty="0" smtClean="0"/>
              <a:t>Milk Consumption and Dairy Industry in China</a:t>
            </a:r>
            <a:br>
              <a:rPr lang="en-US" dirty="0" smtClean="0"/>
            </a:br>
            <a:endParaRPr lang="en-NZ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Dr Hong Chen </a:t>
            </a:r>
            <a:r>
              <a:rPr lang="en-US" sz="1100" dirty="0" smtClean="0"/>
              <a:t>(FNZIFST)</a:t>
            </a:r>
          </a:p>
          <a:p>
            <a:endParaRPr lang="en-US" dirty="0" smtClean="0"/>
          </a:p>
          <a:p>
            <a:r>
              <a:rPr lang="en-US" dirty="0" smtClean="0"/>
              <a:t>To Hibiscus Coast branch, 29 July 2011 </a:t>
            </a:r>
            <a:endParaRPr lang="en-NZ" dirty="0"/>
          </a:p>
        </p:txBody>
      </p:sp>
      <p:sp>
        <p:nvSpPr>
          <p:cNvPr id="6" name="Freeform 4"/>
          <p:cNvSpPr>
            <a:spLocks/>
          </p:cNvSpPr>
          <p:nvPr/>
        </p:nvSpPr>
        <p:spPr bwMode="auto">
          <a:xfrm>
            <a:off x="571472" y="214290"/>
            <a:ext cx="2857520" cy="3143272"/>
          </a:xfrm>
          <a:custGeom>
            <a:avLst/>
            <a:gdLst/>
            <a:ahLst/>
            <a:cxnLst>
              <a:cxn ang="0">
                <a:pos x="282" y="0"/>
              </a:cxn>
              <a:cxn ang="0">
                <a:pos x="234" y="140"/>
              </a:cxn>
              <a:cxn ang="0">
                <a:pos x="180" y="300"/>
              </a:cxn>
              <a:cxn ang="0">
                <a:pos x="143" y="443"/>
              </a:cxn>
              <a:cxn ang="0">
                <a:pos x="102" y="606"/>
              </a:cxn>
              <a:cxn ang="0">
                <a:pos x="78" y="726"/>
              </a:cxn>
              <a:cxn ang="0">
                <a:pos x="54" y="846"/>
              </a:cxn>
              <a:cxn ang="0">
                <a:pos x="38" y="962"/>
              </a:cxn>
              <a:cxn ang="0">
                <a:pos x="29" y="1049"/>
              </a:cxn>
              <a:cxn ang="0">
                <a:pos x="20" y="1158"/>
              </a:cxn>
              <a:cxn ang="0">
                <a:pos x="12" y="1251"/>
              </a:cxn>
              <a:cxn ang="0">
                <a:pos x="6" y="1344"/>
              </a:cxn>
              <a:cxn ang="0">
                <a:pos x="0" y="1494"/>
              </a:cxn>
              <a:cxn ang="0">
                <a:pos x="6" y="1650"/>
              </a:cxn>
              <a:cxn ang="0">
                <a:pos x="12" y="1742"/>
              </a:cxn>
              <a:cxn ang="0">
                <a:pos x="20" y="1838"/>
              </a:cxn>
              <a:cxn ang="0">
                <a:pos x="29" y="1947"/>
              </a:cxn>
              <a:cxn ang="0">
                <a:pos x="48" y="2088"/>
              </a:cxn>
              <a:cxn ang="0">
                <a:pos x="71" y="2229"/>
              </a:cxn>
              <a:cxn ang="0">
                <a:pos x="108" y="2400"/>
              </a:cxn>
              <a:cxn ang="0">
                <a:pos x="149" y="2538"/>
              </a:cxn>
              <a:cxn ang="0">
                <a:pos x="188" y="2666"/>
              </a:cxn>
              <a:cxn ang="0">
                <a:pos x="372" y="2690"/>
              </a:cxn>
              <a:cxn ang="0">
                <a:pos x="516" y="2718"/>
              </a:cxn>
              <a:cxn ang="0">
                <a:pos x="711" y="2769"/>
              </a:cxn>
              <a:cxn ang="0">
                <a:pos x="840" y="2810"/>
              </a:cxn>
              <a:cxn ang="0">
                <a:pos x="952" y="2854"/>
              </a:cxn>
              <a:cxn ang="0">
                <a:pos x="1058" y="2901"/>
              </a:cxn>
              <a:cxn ang="0">
                <a:pos x="1141" y="2847"/>
              </a:cxn>
              <a:cxn ang="0">
                <a:pos x="1253" y="2775"/>
              </a:cxn>
              <a:cxn ang="0">
                <a:pos x="1381" y="2704"/>
              </a:cxn>
              <a:cxn ang="0">
                <a:pos x="1502" y="2643"/>
              </a:cxn>
              <a:cxn ang="0">
                <a:pos x="1595" y="2598"/>
              </a:cxn>
              <a:cxn ang="0">
                <a:pos x="1682" y="2562"/>
              </a:cxn>
              <a:cxn ang="0">
                <a:pos x="1760" y="2529"/>
              </a:cxn>
              <a:cxn ang="0">
                <a:pos x="1838" y="2499"/>
              </a:cxn>
              <a:cxn ang="0">
                <a:pos x="1910" y="2479"/>
              </a:cxn>
              <a:cxn ang="0">
                <a:pos x="1964" y="2462"/>
              </a:cxn>
              <a:cxn ang="0">
                <a:pos x="1959" y="3"/>
              </a:cxn>
              <a:cxn ang="0">
                <a:pos x="282" y="0"/>
              </a:cxn>
            </a:cxnLst>
            <a:rect l="0" t="0" r="r" b="b"/>
            <a:pathLst>
              <a:path w="1964" h="2901">
                <a:moveTo>
                  <a:pt x="282" y="0"/>
                </a:moveTo>
                <a:lnTo>
                  <a:pt x="234" y="140"/>
                </a:lnTo>
                <a:lnTo>
                  <a:pt x="180" y="300"/>
                </a:lnTo>
                <a:lnTo>
                  <a:pt x="143" y="443"/>
                </a:lnTo>
                <a:lnTo>
                  <a:pt x="102" y="606"/>
                </a:lnTo>
                <a:lnTo>
                  <a:pt x="78" y="726"/>
                </a:lnTo>
                <a:lnTo>
                  <a:pt x="54" y="846"/>
                </a:lnTo>
                <a:lnTo>
                  <a:pt x="38" y="962"/>
                </a:lnTo>
                <a:lnTo>
                  <a:pt x="29" y="1049"/>
                </a:lnTo>
                <a:lnTo>
                  <a:pt x="20" y="1158"/>
                </a:lnTo>
                <a:lnTo>
                  <a:pt x="12" y="1251"/>
                </a:lnTo>
                <a:lnTo>
                  <a:pt x="6" y="1344"/>
                </a:lnTo>
                <a:lnTo>
                  <a:pt x="0" y="1494"/>
                </a:lnTo>
                <a:lnTo>
                  <a:pt x="6" y="1650"/>
                </a:lnTo>
                <a:lnTo>
                  <a:pt x="12" y="1742"/>
                </a:lnTo>
                <a:lnTo>
                  <a:pt x="20" y="1838"/>
                </a:lnTo>
                <a:lnTo>
                  <a:pt x="29" y="1947"/>
                </a:lnTo>
                <a:lnTo>
                  <a:pt x="48" y="2088"/>
                </a:lnTo>
                <a:lnTo>
                  <a:pt x="71" y="2229"/>
                </a:lnTo>
                <a:lnTo>
                  <a:pt x="108" y="2400"/>
                </a:lnTo>
                <a:lnTo>
                  <a:pt x="149" y="2538"/>
                </a:lnTo>
                <a:lnTo>
                  <a:pt x="188" y="2666"/>
                </a:lnTo>
                <a:lnTo>
                  <a:pt x="372" y="2690"/>
                </a:lnTo>
                <a:lnTo>
                  <a:pt x="516" y="2718"/>
                </a:lnTo>
                <a:lnTo>
                  <a:pt x="711" y="2769"/>
                </a:lnTo>
                <a:lnTo>
                  <a:pt x="840" y="2810"/>
                </a:lnTo>
                <a:lnTo>
                  <a:pt x="952" y="2854"/>
                </a:lnTo>
                <a:lnTo>
                  <a:pt x="1058" y="2901"/>
                </a:lnTo>
                <a:lnTo>
                  <a:pt x="1141" y="2847"/>
                </a:lnTo>
                <a:lnTo>
                  <a:pt x="1253" y="2775"/>
                </a:lnTo>
                <a:lnTo>
                  <a:pt x="1381" y="2704"/>
                </a:lnTo>
                <a:lnTo>
                  <a:pt x="1502" y="2643"/>
                </a:lnTo>
                <a:lnTo>
                  <a:pt x="1595" y="2598"/>
                </a:lnTo>
                <a:lnTo>
                  <a:pt x="1682" y="2562"/>
                </a:lnTo>
                <a:lnTo>
                  <a:pt x="1760" y="2529"/>
                </a:lnTo>
                <a:lnTo>
                  <a:pt x="1838" y="2499"/>
                </a:lnTo>
                <a:lnTo>
                  <a:pt x="1910" y="2479"/>
                </a:lnTo>
                <a:lnTo>
                  <a:pt x="1964" y="2462"/>
                </a:lnTo>
                <a:lnTo>
                  <a:pt x="1959" y="3"/>
                </a:lnTo>
                <a:lnTo>
                  <a:pt x="282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 b="-21734"/>
            </a:stretch>
          </a:blip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NZ" dirty="0"/>
          </a:p>
        </p:txBody>
      </p:sp>
      <p:pic>
        <p:nvPicPr>
          <p:cNvPr id="5" name="Picture 4" descr="NZCFS Logo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5008" y="500042"/>
            <a:ext cx="1995066" cy="200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NZ" dirty="0" smtClean="0"/>
              <a:t>Changes of the traditions </a:t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8596" y="1071546"/>
            <a:ext cx="8143932" cy="4929222"/>
          </a:xfrm>
        </p:spPr>
        <p:txBody>
          <a:bodyPr>
            <a:noAutofit/>
          </a:bodyPr>
          <a:lstStyle/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Middle class growing fast; income increased, improve life quality</a:t>
            </a: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.</a:t>
            </a:r>
            <a:b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</a:b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 </a:t>
            </a:r>
            <a:endParaRPr lang="en-US" altLang="zh-CN" sz="2000" dirty="0" smtClean="0">
              <a:latin typeface="Arial Rounded MT Bold" pitchFamily="34" charset="0"/>
              <a:ea typeface="宋体" pitchFamily="2" charset="-122"/>
            </a:endParaRPr>
          </a:p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Chinese people still regard dairy products are healthy and nutritional foods, and would like to have them in the daily </a:t>
            </a: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diet</a:t>
            </a:r>
            <a:b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</a:br>
            <a:endParaRPr lang="en-US" altLang="zh-CN" sz="2000" dirty="0" smtClean="0">
              <a:latin typeface="Arial Rounded MT Bold" pitchFamily="34" charset="0"/>
              <a:ea typeface="宋体" pitchFamily="2" charset="-122"/>
            </a:endParaRPr>
          </a:p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Younger generations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 have adopted a more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 Western 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lifestyle, including a more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 Western 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diet,</a:t>
            </a: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 </a:t>
            </a: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e.g. 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a traditional breakfast of noodles is slowly being replaced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 by 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milk and bread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.</a:t>
            </a:r>
            <a:b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</a:br>
            <a:endParaRPr lang="en-US" altLang="zh-CN" sz="2000" dirty="0" smtClean="0">
              <a:latin typeface="Arial Rounded MT Bold" pitchFamily="34" charset="0"/>
              <a:ea typeface="宋体" pitchFamily="2" charset="-122"/>
            </a:endParaRPr>
          </a:p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Many Chinese are starting to drink milk for the first time, particularly dairy 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beverages*, 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while population growth is driving demand for baby and toddler </a:t>
            </a: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>milk</a:t>
            </a:r>
            <a:b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</a:b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/>
            </a:r>
            <a:b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</a:br>
            <a: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  <a:t/>
            </a:r>
            <a:br>
              <a:rPr lang="en-NZ" altLang="zh-CN" sz="2000" dirty="0" smtClean="0">
                <a:latin typeface="Arial Rounded MT Bold" pitchFamily="34" charset="0"/>
                <a:ea typeface="宋体" pitchFamily="2" charset="-122"/>
              </a:rPr>
            </a:br>
            <a:r>
              <a:rPr lang="en-NZ" altLang="zh-CN" sz="1400" dirty="0" smtClean="0">
                <a:latin typeface="Arial Rounded MT Bold" pitchFamily="34" charset="0"/>
                <a:ea typeface="宋体" pitchFamily="2" charset="-122"/>
              </a:rPr>
              <a:t>* dairy beverage = fermented milk, </a:t>
            </a:r>
            <a:r>
              <a:rPr lang="en-NZ" altLang="zh-CN" sz="1400" dirty="0" smtClean="0">
                <a:latin typeface="Arial Rounded MT Bold" pitchFamily="34" charset="0"/>
                <a:ea typeface="宋体" pitchFamily="2" charset="-122"/>
              </a:rPr>
              <a:t>often flavoured, e.g. strawberry or chocolate</a:t>
            </a:r>
            <a:r>
              <a:rPr lang="en-US" altLang="zh-CN" sz="1400" dirty="0" smtClean="0">
                <a:latin typeface="Arial Rounded MT Bold" pitchFamily="34" charset="0"/>
                <a:ea typeface="宋体" pitchFamily="2" charset="-122"/>
              </a:rPr>
              <a:t>.</a:t>
            </a:r>
            <a:endParaRPr lang="en-US" altLang="zh-CN" sz="1400" dirty="0" smtClean="0">
              <a:latin typeface="Arial Rounded MT Bold" pitchFamily="34" charset="0"/>
              <a:ea typeface="宋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596" y="285728"/>
            <a:ext cx="7467600" cy="939784"/>
          </a:xfrm>
        </p:spPr>
        <p:txBody>
          <a:bodyPr>
            <a:normAutofit fontScale="90000"/>
          </a:bodyPr>
          <a:lstStyle/>
          <a:p>
            <a:pPr lvl="0"/>
            <a:r>
              <a:rPr lang="en-NZ" dirty="0" smtClean="0"/>
              <a:t>Dairy products </a:t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8596" y="1142984"/>
            <a:ext cx="8143932" cy="5286412"/>
          </a:xfrm>
        </p:spPr>
        <p:txBody>
          <a:bodyPr>
            <a:noAutofit/>
          </a:bodyPr>
          <a:lstStyle/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None/>
            </a:pPr>
            <a:r>
              <a:rPr lang="en-US" altLang="zh-CN" sz="1600" dirty="0" smtClean="0">
                <a:ea typeface="宋体" pitchFamily="2" charset="-122"/>
              </a:rPr>
              <a:t>The popular dairy products in China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r>
              <a:rPr lang="en-US" altLang="zh-CN" sz="1600" b="1" dirty="0" smtClean="0">
                <a:ea typeface="宋体" pitchFamily="2" charset="-122"/>
              </a:rPr>
              <a:t>Milk drinks </a:t>
            </a:r>
            <a:r>
              <a:rPr lang="en-US" altLang="zh-CN" sz="1600" dirty="0" smtClean="0">
                <a:ea typeface="宋体" pitchFamily="2" charset="-122"/>
              </a:rPr>
              <a:t>– </a:t>
            </a:r>
            <a:r>
              <a:rPr lang="en-US" altLang="zh-CN" sz="1600" dirty="0" err="1" smtClean="0">
                <a:ea typeface="宋体" pitchFamily="2" charset="-122"/>
              </a:rPr>
              <a:t>eg</a:t>
            </a:r>
            <a:r>
              <a:rPr lang="en-US" altLang="zh-CN" sz="1600" dirty="0" smtClean="0">
                <a:ea typeface="宋体" pitchFamily="2" charset="-122"/>
              </a:rPr>
              <a:t>: UHT, pasteurized milk, flavored milk drinks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r>
              <a:rPr lang="en-US" altLang="zh-CN" sz="1600" b="1" dirty="0" smtClean="0">
                <a:ea typeface="宋体" pitchFamily="2" charset="-122"/>
              </a:rPr>
              <a:t>Yoghurt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r>
              <a:rPr lang="en-US" altLang="zh-CN" sz="1600" b="1" dirty="0" smtClean="0">
                <a:ea typeface="宋体" pitchFamily="2" charset="-122"/>
              </a:rPr>
              <a:t>Ice cream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r>
              <a:rPr lang="en-US" altLang="zh-CN" sz="1600" b="1" dirty="0" smtClean="0">
                <a:ea typeface="宋体" pitchFamily="2" charset="-122"/>
              </a:rPr>
              <a:t>Milk </a:t>
            </a:r>
            <a:r>
              <a:rPr lang="en-US" altLang="zh-CN" sz="1600" b="1" dirty="0" smtClean="0">
                <a:ea typeface="宋体" pitchFamily="2" charset="-122"/>
              </a:rPr>
              <a:t>beverages </a:t>
            </a:r>
            <a:r>
              <a:rPr lang="en-US" altLang="zh-CN" sz="1600" dirty="0" smtClean="0">
                <a:ea typeface="宋体" pitchFamily="2" charset="-122"/>
              </a:rPr>
              <a:t>– </a:t>
            </a:r>
            <a:r>
              <a:rPr lang="en-US" altLang="zh-CN" sz="1600" dirty="0" smtClean="0">
                <a:ea typeface="宋体" pitchFamily="2" charset="-122"/>
              </a:rPr>
              <a:t>fermented </a:t>
            </a:r>
            <a:r>
              <a:rPr lang="en-US" altLang="zh-CN" sz="1600" dirty="0" smtClean="0">
                <a:ea typeface="宋体" pitchFamily="2" charset="-122"/>
              </a:rPr>
              <a:t>milk drinks, 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r>
              <a:rPr lang="en-US" altLang="zh-CN" sz="1600" b="1" dirty="0" smtClean="0">
                <a:ea typeface="宋体" pitchFamily="2" charset="-122"/>
              </a:rPr>
              <a:t>Infant formula powders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endParaRPr lang="en-US" altLang="zh-CN" sz="1600" dirty="0" smtClean="0">
              <a:ea typeface="宋体" pitchFamily="2" charset="-122"/>
            </a:endParaRP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r>
              <a:rPr lang="en-US" altLang="zh-CN" sz="1600" b="1" dirty="0" smtClean="0">
                <a:ea typeface="宋体" pitchFamily="2" charset="-122"/>
              </a:rPr>
              <a:t>Cheese for pizza </a:t>
            </a:r>
            <a:r>
              <a:rPr lang="en-US" altLang="zh-CN" sz="1600" dirty="0" smtClean="0">
                <a:ea typeface="宋体" pitchFamily="2" charset="-122"/>
              </a:rPr>
              <a:t>– fast food chains 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r>
              <a:rPr lang="en-US" altLang="zh-CN" sz="1600" b="1" dirty="0" smtClean="0">
                <a:ea typeface="宋体" pitchFamily="2" charset="-122"/>
              </a:rPr>
              <a:t>Cream for bakery </a:t>
            </a:r>
            <a:r>
              <a:rPr lang="en-US" altLang="zh-CN" sz="1600" dirty="0" smtClean="0">
                <a:ea typeface="宋体" pitchFamily="2" charset="-122"/>
              </a:rPr>
              <a:t>– western style cakes 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endParaRPr lang="en-US" altLang="zh-CN" sz="1600" dirty="0" smtClean="0">
              <a:ea typeface="宋体" pitchFamily="2" charset="-122"/>
            </a:endParaRPr>
          </a:p>
          <a:p>
            <a:r>
              <a:rPr lang="en-NZ" sz="1600" dirty="0" smtClean="0"/>
              <a:t>According to </a:t>
            </a:r>
            <a:r>
              <a:rPr lang="en-NZ" sz="1600" i="1" dirty="0" smtClean="0"/>
              <a:t>Tetra Pak research (</a:t>
            </a:r>
            <a:r>
              <a:rPr lang="en-NZ" sz="1600" i="1" dirty="0" smtClean="0"/>
              <a:t>2011</a:t>
            </a:r>
            <a:r>
              <a:rPr lang="en-NZ" sz="1600" i="1" dirty="0" smtClean="0"/>
              <a:t>): </a:t>
            </a:r>
            <a:r>
              <a:rPr lang="en-NZ" sz="1600" dirty="0" smtClean="0"/>
              <a:t> Demand for Chinese </a:t>
            </a:r>
            <a:r>
              <a:rPr lang="en-NZ" sz="1600" dirty="0" smtClean="0"/>
              <a:t>Liquid Dairy Products (LDP</a:t>
            </a:r>
            <a:r>
              <a:rPr lang="en-NZ" sz="1600" dirty="0" smtClean="0"/>
              <a:t>) </a:t>
            </a:r>
            <a:r>
              <a:rPr lang="en-NZ" sz="1600" dirty="0" smtClean="0"/>
              <a:t>is expected to surge by more than 40% between 2009 and 2013 – from around 25 billion litres to some 35 billion litres – driven by more than a 60% rise in consumption of lactic acid drinks and more than a 50% increase in consumption of baby and toddler milk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2910" y="500042"/>
            <a:ext cx="7281890" cy="654032"/>
          </a:xfrm>
        </p:spPr>
        <p:txBody>
          <a:bodyPr>
            <a:normAutofit fontScale="90000"/>
          </a:bodyPr>
          <a:lstStyle/>
          <a:p>
            <a:r>
              <a:rPr lang="en-NZ" dirty="0" smtClean="0"/>
              <a:t/>
            </a:r>
            <a:br>
              <a:rPr lang="en-NZ" dirty="0" smtClean="0"/>
            </a:br>
            <a:r>
              <a:rPr lang="en-NZ" dirty="0" smtClean="0"/>
              <a:t>C</a:t>
            </a:r>
            <a:r>
              <a:rPr lang="en-NZ" b="1" dirty="0" smtClean="0"/>
              <a:t>hinese Dairy Consumption</a:t>
            </a:r>
            <a:r>
              <a:rPr lang="en-NZ" b="1" dirty="0" smtClean="0"/>
              <a:t> </a:t>
            </a:r>
            <a:r>
              <a:rPr lang="en-NZ" b="1" dirty="0" smtClean="0"/>
              <a:t/>
            </a:r>
            <a:br>
              <a:rPr lang="en-NZ" b="1" dirty="0" smtClean="0"/>
            </a:br>
            <a:r>
              <a:rPr lang="en-NZ" b="1" dirty="0" smtClean="0"/>
              <a:t>                     </a:t>
            </a:r>
            <a:r>
              <a:rPr lang="en-NZ" b="1" dirty="0" smtClean="0"/>
              <a:t>2003 to </a:t>
            </a:r>
            <a:r>
              <a:rPr lang="en-NZ" b="1" dirty="0" smtClean="0"/>
              <a:t>2010 </a:t>
            </a:r>
            <a:r>
              <a:rPr lang="en-NZ" sz="1800" b="1" dirty="0" smtClean="0"/>
              <a:t>(From the internet</a:t>
            </a:r>
            <a:r>
              <a:rPr lang="en-NZ" sz="1800" dirty="0" smtClean="0"/>
              <a:t>)</a:t>
            </a:r>
            <a:endParaRPr lang="en-NZ" dirty="0"/>
          </a:p>
        </p:txBody>
      </p:sp>
      <p:pic>
        <p:nvPicPr>
          <p:cNvPr id="5" name="Picture 4" descr="dairy consumption in china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42910" y="1357298"/>
            <a:ext cx="7072362" cy="485778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939784"/>
          </a:xfrm>
        </p:spPr>
        <p:txBody>
          <a:bodyPr>
            <a:normAutofit fontScale="90000"/>
          </a:bodyPr>
          <a:lstStyle/>
          <a:p>
            <a:r>
              <a:rPr lang="en-NZ" dirty="0" smtClean="0"/>
              <a:t/>
            </a:r>
            <a:br>
              <a:rPr lang="en-NZ" dirty="0" smtClean="0"/>
            </a:br>
            <a:r>
              <a:rPr lang="en-NZ" dirty="0" smtClean="0"/>
              <a:t>Revenues of </a:t>
            </a:r>
            <a:r>
              <a:rPr lang="en-US" altLang="zh-CN" sz="2800" dirty="0" smtClean="0">
                <a:ea typeface="宋体" pitchFamily="2" charset="-122"/>
              </a:rPr>
              <a:t>Dairy products in China in 2005 and 2010 </a:t>
            </a:r>
            <a:r>
              <a:rPr lang="en-NZ" sz="1800" b="1" dirty="0" smtClean="0"/>
              <a:t>(From the internet</a:t>
            </a:r>
            <a:r>
              <a:rPr lang="en-NZ" sz="1800" dirty="0" smtClean="0"/>
              <a:t>)</a:t>
            </a:r>
            <a:endParaRPr lang="en-NZ" sz="1800" dirty="0"/>
          </a:p>
        </p:txBody>
      </p:sp>
      <p:pic>
        <p:nvPicPr>
          <p:cNvPr id="4" name="Picture 3" descr="dairy products in china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571604" y="1643050"/>
            <a:ext cx="5214974" cy="46434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NZ" dirty="0" smtClean="0"/>
              <a:t>Chinese Dairy industry </a:t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8596" y="1142984"/>
            <a:ext cx="8143932" cy="5072098"/>
          </a:xfrm>
        </p:spPr>
        <p:txBody>
          <a:bodyPr>
            <a:noAutofit/>
          </a:bodyPr>
          <a:lstStyle/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None/>
            </a:pPr>
            <a:r>
              <a:rPr lang="en-US" altLang="zh-CN" sz="1600" b="1" dirty="0" smtClean="0">
                <a:ea typeface="宋体" pitchFamily="2" charset="-122"/>
              </a:rPr>
              <a:t>Dairy companies in China</a:t>
            </a:r>
          </a:p>
          <a:p>
            <a:r>
              <a:rPr lang="en-US" sz="1600" dirty="0" smtClean="0"/>
              <a:t>In 2009, there ware 1176 dairy companies in China.</a:t>
            </a:r>
          </a:p>
          <a:p>
            <a:r>
              <a:rPr lang="en-US" sz="1600" dirty="0" smtClean="0"/>
              <a:t>In 2010, </a:t>
            </a:r>
            <a:r>
              <a:rPr lang="en-GB" sz="1600" dirty="0" smtClean="0"/>
              <a:t>Only 643 dairy producing companies (about 55 percent ) were granted licenses to continue production by the General Administration of Quality Supervision, Inspection and Quarantine (AQSIQ)</a:t>
            </a:r>
          </a:p>
          <a:p>
            <a:r>
              <a:rPr lang="en-NZ" sz="1600" dirty="0" smtClean="0"/>
              <a:t>426 dairy producers were forced to be shut down and another 107 were suspend operations following a quality watchdog inspection</a:t>
            </a:r>
            <a:endParaRPr lang="en-US" sz="1600" dirty="0" smtClean="0"/>
          </a:p>
          <a:p>
            <a:pPr>
              <a:buNone/>
            </a:pPr>
            <a:endParaRPr lang="en-US" sz="1600" dirty="0" smtClean="0"/>
          </a:p>
          <a:p>
            <a:r>
              <a:rPr lang="en-US" sz="1600" dirty="0" smtClean="0"/>
              <a:t>The major Chinese dairy companies are:</a:t>
            </a:r>
          </a:p>
          <a:p>
            <a:pPr lvl="1"/>
            <a:r>
              <a:rPr lang="en-US" sz="1300" dirty="0" smtClean="0"/>
              <a:t> Inner </a:t>
            </a:r>
            <a:r>
              <a:rPr lang="en-US" sz="1300" dirty="0" smtClean="0"/>
              <a:t>Mongolia:  </a:t>
            </a:r>
            <a:r>
              <a:rPr lang="en-US" sz="1300" b="1" i="1" dirty="0" err="1" smtClean="0"/>
              <a:t>Mennui</a:t>
            </a:r>
            <a:r>
              <a:rPr lang="en-US" sz="1300" dirty="0" smtClean="0"/>
              <a:t> Dairy (Group) Co. Ltd, </a:t>
            </a:r>
          </a:p>
          <a:p>
            <a:pPr lvl="1"/>
            <a:r>
              <a:rPr lang="en-US" sz="1300" dirty="0" smtClean="0"/>
              <a:t>Inner </a:t>
            </a:r>
            <a:r>
              <a:rPr lang="en-US" sz="1300" dirty="0" smtClean="0"/>
              <a:t>Mongolia:  </a:t>
            </a:r>
            <a:r>
              <a:rPr lang="en-US" sz="1300" b="1" i="1" dirty="0" err="1" smtClean="0"/>
              <a:t>Yili</a:t>
            </a:r>
            <a:r>
              <a:rPr lang="en-US" sz="1300" dirty="0" smtClean="0"/>
              <a:t> Industrial Group Co. Ltd</a:t>
            </a:r>
          </a:p>
          <a:p>
            <a:pPr lvl="1"/>
            <a:r>
              <a:rPr lang="en-US" sz="1300" dirty="0" smtClean="0"/>
              <a:t>Shanghai</a:t>
            </a:r>
            <a:r>
              <a:rPr lang="en-US" sz="1300" b="1" i="1" dirty="0" smtClean="0"/>
              <a:t>:  </a:t>
            </a:r>
            <a:r>
              <a:rPr lang="en-US" sz="1300" b="1" i="1" dirty="0" smtClean="0"/>
              <a:t>Bright Dairy </a:t>
            </a:r>
            <a:r>
              <a:rPr lang="en-US" sz="1300" dirty="0" smtClean="0"/>
              <a:t>Group </a:t>
            </a:r>
            <a:r>
              <a:rPr lang="en-US" sz="1300" b="1" dirty="0" smtClean="0"/>
              <a:t>[major stakeholder in NZ </a:t>
            </a:r>
            <a:r>
              <a:rPr lang="en-US" sz="1300" b="1" i="1" dirty="0" err="1" smtClean="0"/>
              <a:t>Synlait</a:t>
            </a:r>
            <a:r>
              <a:rPr lang="en-US" sz="1300" b="1" i="1" dirty="0" smtClean="0"/>
              <a:t> Milk</a:t>
            </a:r>
            <a:r>
              <a:rPr lang="en-US" sz="1300" dirty="0" smtClean="0"/>
              <a:t>] , </a:t>
            </a:r>
            <a:endParaRPr lang="en-US" sz="1300" dirty="0" smtClean="0"/>
          </a:p>
          <a:p>
            <a:pPr lvl="1"/>
            <a:r>
              <a:rPr lang="en-US" sz="1300" dirty="0" smtClean="0"/>
              <a:t>Beijing:  </a:t>
            </a:r>
            <a:r>
              <a:rPr lang="en-US" sz="1300" b="1" i="1" dirty="0" err="1" smtClean="0"/>
              <a:t>Shanya</a:t>
            </a:r>
            <a:r>
              <a:rPr lang="en-US" sz="1300" b="1" dirty="0" err="1" smtClean="0"/>
              <a:t>n</a:t>
            </a:r>
            <a:r>
              <a:rPr lang="en-US" sz="1300" dirty="0" smtClean="0"/>
              <a:t> Dairy Group</a:t>
            </a:r>
          </a:p>
          <a:p>
            <a:pPr lvl="1"/>
            <a:r>
              <a:rPr lang="en-US" sz="1300" dirty="0" err="1" smtClean="0"/>
              <a:t>Hailongjiang</a:t>
            </a:r>
            <a:r>
              <a:rPr lang="en-US" sz="1300" dirty="0" smtClean="0"/>
              <a:t>:  </a:t>
            </a:r>
            <a:r>
              <a:rPr lang="en-US" sz="1300" b="1" i="1" dirty="0" err="1" smtClean="0"/>
              <a:t>Wondersun</a:t>
            </a:r>
            <a:r>
              <a:rPr lang="en-US" sz="1300" b="1" dirty="0" smtClean="0"/>
              <a:t> </a:t>
            </a:r>
            <a:r>
              <a:rPr lang="en-US" sz="1300" dirty="0" smtClean="0"/>
              <a:t>Dairy Co Ltd</a:t>
            </a:r>
          </a:p>
          <a:p>
            <a:endParaRPr lang="en-US" sz="1600" dirty="0" smtClean="0"/>
          </a:p>
          <a:p>
            <a:r>
              <a:rPr lang="en-GB" sz="1600" b="1" i="1" dirty="0" smtClean="0"/>
              <a:t>Nestle, Coca-Cola </a:t>
            </a:r>
            <a:r>
              <a:rPr lang="en-GB" sz="1600" dirty="0" smtClean="0"/>
              <a:t>and </a:t>
            </a:r>
            <a:r>
              <a:rPr lang="en-GB" sz="1600" b="1" i="1" dirty="0" err="1" smtClean="0"/>
              <a:t>Danone</a:t>
            </a:r>
            <a:r>
              <a:rPr lang="en-GB" sz="1600" dirty="0" smtClean="0"/>
              <a:t> are currently the biggest foreign companies in the Chinese dairy market – which is dominated</a:t>
            </a:r>
            <a:r>
              <a:rPr lang="en-GB" sz="1600" dirty="0" smtClean="0"/>
              <a:t> by drinking </a:t>
            </a:r>
            <a:r>
              <a:rPr lang="en-GB" sz="1600" dirty="0" smtClean="0"/>
              <a:t>yoghurts and flavoured milks</a:t>
            </a:r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NZ" dirty="0" smtClean="0"/>
              <a:t>Challenges in Chinese Dairy industry </a:t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8596" y="1500174"/>
            <a:ext cx="8143932" cy="3214710"/>
          </a:xfrm>
        </p:spPr>
        <p:txBody>
          <a:bodyPr>
            <a:noAutofit/>
          </a:bodyPr>
          <a:lstStyle/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None/>
            </a:pPr>
            <a:r>
              <a:rPr lang="en-US" altLang="zh-CN" sz="1600" dirty="0" smtClean="0">
                <a:ea typeface="宋体" pitchFamily="2" charset="-122"/>
              </a:rPr>
              <a:t> </a:t>
            </a:r>
          </a:p>
          <a:p>
            <a:r>
              <a:rPr lang="en-US" sz="2000" b="1" dirty="0" smtClean="0"/>
              <a:t>Consumer's concerns on food safety</a:t>
            </a:r>
          </a:p>
          <a:p>
            <a:pPr>
              <a:buNone/>
            </a:pPr>
            <a:r>
              <a:rPr lang="en-US" sz="2000" b="1" dirty="0" smtClean="0"/>
              <a:t> </a:t>
            </a:r>
          </a:p>
          <a:p>
            <a:r>
              <a:rPr lang="en-US" sz="2000" b="1" dirty="0" smtClean="0"/>
              <a:t>Growth demand for high quality dairy products</a:t>
            </a:r>
          </a:p>
          <a:p>
            <a:endParaRPr lang="en-US" sz="2000" b="1" dirty="0" smtClean="0"/>
          </a:p>
          <a:p>
            <a:r>
              <a:rPr lang="en-US" sz="2000" b="1" dirty="0" smtClean="0"/>
              <a:t>Establish a trusted quality assurance system </a:t>
            </a:r>
          </a:p>
          <a:p>
            <a:pPr>
              <a:buNone/>
            </a:pPr>
            <a:r>
              <a:rPr lang="en-US" sz="2000" dirty="0" smtClean="0"/>
              <a:t> </a:t>
            </a:r>
          </a:p>
          <a:p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NZ" dirty="0" smtClean="0"/>
              <a:t>Food safety concerns</a:t>
            </a:r>
            <a:br>
              <a:rPr lang="en-NZ" dirty="0" smtClean="0"/>
            </a:br>
            <a:endParaRPr lang="en-NZ" dirty="0"/>
          </a:p>
        </p:txBody>
      </p:sp>
      <p:pic>
        <p:nvPicPr>
          <p:cNvPr id="23554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5219" y="1000108"/>
            <a:ext cx="7917765" cy="528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NZ" dirty="0" smtClean="0"/>
              <a:t>Prestigious brands</a:t>
            </a:r>
            <a:br>
              <a:rPr lang="en-NZ" dirty="0" smtClean="0"/>
            </a:br>
            <a:endParaRPr lang="en-NZ" dirty="0"/>
          </a:p>
        </p:txBody>
      </p:sp>
      <p:pic>
        <p:nvPicPr>
          <p:cNvPr id="25602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1000108"/>
            <a:ext cx="7842464" cy="5500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NZ" dirty="0" smtClean="0"/>
              <a:t>dairy products in supermarket and retailer</a:t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8596" y="1142984"/>
            <a:ext cx="8143932" cy="4214842"/>
          </a:xfrm>
        </p:spPr>
        <p:txBody>
          <a:bodyPr>
            <a:noAutofit/>
          </a:bodyPr>
          <a:lstStyle/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None/>
            </a:pPr>
            <a:r>
              <a:rPr lang="en-US" altLang="zh-CN" sz="1600" dirty="0" smtClean="0">
                <a:ea typeface="宋体" pitchFamily="2" charset="-122"/>
              </a:rPr>
              <a:t> </a:t>
            </a:r>
          </a:p>
          <a:p>
            <a:pPr>
              <a:buNone/>
            </a:pPr>
            <a:endParaRPr lang="en-US" sz="1600" dirty="0" smtClean="0"/>
          </a:p>
        </p:txBody>
      </p:sp>
      <p:pic>
        <p:nvPicPr>
          <p:cNvPr id="4" name="Picture 3" descr="retailer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71472" y="1214422"/>
            <a:ext cx="3571900" cy="2571768"/>
          </a:xfrm>
          <a:prstGeom prst="rect">
            <a:avLst/>
          </a:prstGeom>
        </p:spPr>
      </p:pic>
      <p:pic>
        <p:nvPicPr>
          <p:cNvPr id="5" name="Picture 4" descr="supermarket.jp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714744" y="2786058"/>
            <a:ext cx="4457700" cy="33432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NZ" dirty="0" smtClean="0"/>
              <a:t>milk transportation</a:t>
            </a:r>
            <a:br>
              <a:rPr lang="en-NZ" dirty="0" smtClean="0"/>
            </a:br>
            <a:endParaRPr lang="en-NZ" dirty="0"/>
          </a:p>
        </p:txBody>
      </p:sp>
      <p:pic>
        <p:nvPicPr>
          <p:cNvPr id="26626" name="Picture 2" descr="\\zeus\home\021home\chenhong\My Documents\My info\My Pictures\Photos\Sanlu-Apr 06\Fonglin Sanlu (17 Aug 07)\P8170031.JPG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472" y="2857496"/>
            <a:ext cx="4762532" cy="3571900"/>
          </a:xfrm>
          <a:prstGeom prst="rect">
            <a:avLst/>
          </a:prstGeom>
          <a:noFill/>
        </p:spPr>
      </p:pic>
      <p:pic>
        <p:nvPicPr>
          <p:cNvPr id="4" name="Picture 3" descr="dairy_landing_csv.jpg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500694" y="1142984"/>
            <a:ext cx="2928958" cy="200026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472" y="500042"/>
            <a:ext cx="7467600" cy="725470"/>
          </a:xfrm>
        </p:spPr>
        <p:txBody>
          <a:bodyPr>
            <a:normAutofit fontScale="90000"/>
          </a:bodyPr>
          <a:lstStyle/>
          <a:p>
            <a:r>
              <a:rPr lang="en-GB" altLang="zh-CN" dirty="0" smtClean="0">
                <a:ea typeface="宋体" pitchFamily="2" charset="-122"/>
              </a:rPr>
              <a:t>Global milk production</a:t>
            </a:r>
            <a:br>
              <a:rPr lang="en-GB" altLang="zh-CN" dirty="0" smtClean="0">
                <a:ea typeface="宋体" pitchFamily="2" charset="-122"/>
              </a:rPr>
            </a:br>
            <a:r>
              <a:rPr lang="en-US" altLang="zh-CN" sz="1300" dirty="0" smtClean="0">
                <a:solidFill>
                  <a:schemeClr val="tx1"/>
                </a:solidFill>
                <a:ea typeface="宋体" pitchFamily="2" charset="-122"/>
              </a:rPr>
              <a:t>(From </a:t>
            </a:r>
            <a:r>
              <a:rPr lang="en-US" altLang="zh-CN" sz="1300" i="1" dirty="0" smtClean="0">
                <a:solidFill>
                  <a:schemeClr val="tx1"/>
                </a:solidFill>
                <a:ea typeface="宋体" pitchFamily="2" charset="-122"/>
              </a:rPr>
              <a:t>Food and Agriculture Organization of UN: FAOSTAT</a:t>
            </a:r>
            <a:r>
              <a:rPr lang="en-US" altLang="zh-CN" sz="1300" dirty="0" smtClean="0">
                <a:solidFill>
                  <a:schemeClr val="tx1"/>
                </a:solidFill>
                <a:ea typeface="宋体" pitchFamily="2" charset="-122"/>
              </a:rPr>
              <a:t>, DAC statistics, Mckinsey analysis)</a:t>
            </a:r>
            <a:r>
              <a:rPr lang="en-GB" altLang="zh-CN" sz="1300" dirty="0" smtClean="0">
                <a:ea typeface="宋体" pitchFamily="2" charset="-122"/>
              </a:rPr>
              <a:t> </a:t>
            </a:r>
            <a:endParaRPr lang="en-NZ" sz="1300" dirty="0"/>
          </a:p>
        </p:txBody>
      </p:sp>
      <p:grpSp>
        <p:nvGrpSpPr>
          <p:cNvPr id="4" name="Group 8"/>
          <p:cNvGrpSpPr>
            <a:grpSpLocks noGrp="1"/>
          </p:cNvGrpSpPr>
          <p:nvPr>
            <p:ph type="body" orient="vert" idx="1"/>
          </p:nvPr>
        </p:nvGrpSpPr>
        <p:grpSpPr bwMode="auto">
          <a:xfrm>
            <a:off x="457200" y="1643050"/>
            <a:ext cx="8153173" cy="4830775"/>
            <a:chOff x="253" y="801"/>
            <a:chExt cx="6195" cy="3367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253" y="801"/>
              <a:ext cx="6195" cy="3367"/>
              <a:chOff x="253" y="732"/>
              <a:chExt cx="6195" cy="3367"/>
            </a:xfrm>
          </p:grpSpPr>
          <p:pic>
            <p:nvPicPr>
              <p:cNvPr id="7" name="Picture 4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gray">
              <a:xfrm>
                <a:off x="253" y="732"/>
                <a:ext cx="5732" cy="336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</p:pic>
          <p:sp>
            <p:nvSpPr>
              <p:cNvPr id="8" name="Text Box 5"/>
              <p:cNvSpPr txBox="1">
                <a:spLocks noChangeArrowheads="1"/>
              </p:cNvSpPr>
              <p:nvPr/>
            </p:nvSpPr>
            <p:spPr bwMode="gray">
              <a:xfrm>
                <a:off x="3669" y="915"/>
                <a:ext cx="2779" cy="1223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91202" tIns="45598" rIns="91202" bIns="45598">
                <a:spAutoFit/>
              </a:bodyPr>
              <a:lstStyle/>
              <a:p>
                <a:pPr eaLnBrk="0" hangingPunct="0">
                  <a:lnSpc>
                    <a:spcPct val="100000"/>
                  </a:lnSpc>
                  <a:spcBef>
                    <a:spcPct val="0"/>
                  </a:spcBef>
                  <a:buFontTx/>
                  <a:buChar char="•"/>
                </a:pPr>
                <a:r>
                  <a:rPr lang="en-US" altLang="zh-CN" sz="1200" dirty="0">
                    <a:solidFill>
                      <a:schemeClr val="tx1"/>
                    </a:solidFill>
                    <a:ea typeface="宋体" pitchFamily="2" charset="-122"/>
                  </a:rPr>
                  <a:t> </a:t>
                </a:r>
                <a:r>
                  <a:rPr lang="en-US" altLang="zh-CN" sz="1200" b="1" dirty="0">
                    <a:solidFill>
                      <a:srgbClr val="000000"/>
                    </a:solidFill>
                    <a:ea typeface="宋体" pitchFamily="2" charset="-122"/>
                  </a:rPr>
                  <a:t>Total Global</a:t>
                </a:r>
                <a:r>
                  <a:rPr lang="en-US" altLang="zh-CN" sz="1200" b="1" dirty="0" smtClean="0">
                    <a:solidFill>
                      <a:srgbClr val="000000"/>
                    </a:solidFill>
                    <a:ea typeface="宋体" pitchFamily="2" charset="-122"/>
                  </a:rPr>
                  <a:t> Annual Production </a:t>
                </a:r>
                <a:r>
                  <a:rPr lang="en-US" altLang="zh-CN" sz="1200" dirty="0">
                    <a:solidFill>
                      <a:srgbClr val="000000"/>
                    </a:solidFill>
                    <a:ea typeface="宋体" pitchFamily="2" charset="-122"/>
                  </a:rPr>
                  <a:t>is 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558.8 million metric 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tonnes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 (m Mts)</a:t>
                </a:r>
              </a:p>
              <a:p>
                <a:pPr eaLnBrk="0" hangingPunct="0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endParaRPr lang="en-US" altLang="zh-CN" sz="1200" dirty="0">
                  <a:solidFill>
                    <a:srgbClr val="000000"/>
                  </a:solidFill>
                  <a:ea typeface="宋体" pitchFamily="2" charset="-122"/>
                </a:endParaRPr>
              </a:p>
              <a:p>
                <a:pPr eaLnBrk="0" hangingPunct="0">
                  <a:lnSpc>
                    <a:spcPct val="100000"/>
                  </a:lnSpc>
                  <a:spcBef>
                    <a:spcPct val="0"/>
                  </a:spcBef>
                  <a:buFontTx/>
                  <a:buChar char="•"/>
                </a:pPr>
                <a:endParaRPr lang="en-US" altLang="zh-CN" sz="1200" dirty="0">
                  <a:solidFill>
                    <a:srgbClr val="000000"/>
                  </a:solidFill>
                  <a:ea typeface="宋体" pitchFamily="2" charset="-122"/>
                </a:endParaRPr>
              </a:p>
              <a:p>
                <a:pPr eaLnBrk="0" hangingPunct="0">
                  <a:lnSpc>
                    <a:spcPct val="100000"/>
                  </a:lnSpc>
                  <a:spcBef>
                    <a:spcPct val="0"/>
                  </a:spcBef>
                  <a:buFontTx/>
                  <a:buChar char="•"/>
                </a:pPr>
                <a:r>
                  <a:rPr lang="en-US" altLang="zh-CN" sz="1200" dirty="0">
                    <a:solidFill>
                      <a:srgbClr val="000000"/>
                    </a:solidFill>
                    <a:ea typeface="宋体" pitchFamily="2" charset="-122"/>
                  </a:rPr>
                  <a:t> </a:t>
                </a:r>
                <a:r>
                  <a:rPr lang="en-US" altLang="zh-CN" sz="1200" b="1" dirty="0">
                    <a:solidFill>
                      <a:srgbClr val="000000"/>
                    </a:solidFill>
                    <a:ea typeface="宋体" pitchFamily="2" charset="-122"/>
                  </a:rPr>
                  <a:t>China’s milk production 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is 35.2 m Mts, </a:t>
                </a:r>
              </a:p>
              <a:p>
                <a:pPr eaLnBrk="0" hangingPunct="0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= 6.3% of global production</a:t>
                </a:r>
              </a:p>
              <a:p>
                <a:pPr eaLnBrk="0" hangingPunct="0">
                  <a:lnSpc>
                    <a:spcPct val="100000"/>
                  </a:lnSpc>
                  <a:spcBef>
                    <a:spcPct val="0"/>
                  </a:spcBef>
                  <a:buFontTx/>
                  <a:buChar char="•"/>
                </a:pPr>
                <a:endParaRPr lang="en-US" altLang="zh-CN" sz="1200" dirty="0" smtClean="0">
                  <a:solidFill>
                    <a:srgbClr val="000000"/>
                  </a:solidFill>
                  <a:ea typeface="宋体" pitchFamily="2" charset="-122"/>
                </a:endParaRPr>
              </a:p>
              <a:p>
                <a:pPr eaLnBrk="0" hangingPunct="0">
                  <a:spcBef>
                    <a:spcPct val="0"/>
                  </a:spcBef>
                  <a:buFontTx/>
                  <a:buChar char="•"/>
                </a:pP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 </a:t>
                </a:r>
                <a:r>
                  <a:rPr lang="en-US" altLang="zh-CN" sz="1200" b="1" dirty="0" smtClean="0">
                    <a:solidFill>
                      <a:srgbClr val="000000"/>
                    </a:solidFill>
                    <a:ea typeface="宋体" pitchFamily="2" charset="-122"/>
                  </a:rPr>
                  <a:t>NZ’s milk production 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is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 17m 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Mts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.</a:t>
                </a:r>
              </a:p>
              <a:p>
                <a:pPr eaLnBrk="0" hangingPunct="0">
                  <a:spcBef>
                    <a:spcPct val="0"/>
                  </a:spcBef>
                </a:pP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 = 3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% of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 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global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 </a:t>
                </a:r>
                <a:r>
                  <a:rPr lang="en-US" altLang="zh-CN" sz="1200" dirty="0" smtClean="0">
                    <a:solidFill>
                      <a:srgbClr val="000000"/>
                    </a:solidFill>
                    <a:ea typeface="宋体" pitchFamily="2" charset="-122"/>
                  </a:rPr>
                  <a:t>production</a:t>
                </a:r>
              </a:p>
            </p:txBody>
          </p:sp>
        </p:grpSp>
        <p:sp>
          <p:nvSpPr>
            <p:cNvPr id="6" name="Oval 7"/>
            <p:cNvSpPr>
              <a:spLocks noChangeArrowheads="1"/>
            </p:cNvSpPr>
            <p:nvPr/>
          </p:nvSpPr>
          <p:spPr bwMode="auto">
            <a:xfrm>
              <a:off x="2247" y="3130"/>
              <a:ext cx="796" cy="780"/>
            </a:xfrm>
            <a:prstGeom prst="ellipse">
              <a:avLst/>
            </a:prstGeom>
            <a:noFill/>
            <a:ln w="38100" algn="ctr">
              <a:solidFill>
                <a:srgbClr val="FF0000"/>
              </a:solidFill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zh-CN" altLang="en-US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3352800" y="5410200"/>
            <a:ext cx="533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FF0000"/>
                </a:solidFill>
                <a:latin typeface="Arial"/>
              </a:rPr>
              <a:t>China</a:t>
            </a:r>
            <a:endParaRPr lang="en-US" sz="1000" dirty="0">
              <a:solidFill>
                <a:srgbClr val="FF0000"/>
              </a:solidFill>
              <a:latin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US" dirty="0" smtClean="0"/>
              <a:t>The end of presentation </a:t>
            </a: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2214554"/>
            <a:ext cx="7467600" cy="4259398"/>
          </a:xfrm>
        </p:spPr>
        <p:txBody>
          <a:bodyPr>
            <a:normAutofit/>
          </a:bodyPr>
          <a:lstStyle/>
          <a:p>
            <a:pPr lvl="0"/>
            <a:r>
              <a:rPr lang="en-NZ" dirty="0" smtClean="0"/>
              <a:t>Thanks for your interests and listening </a:t>
            </a:r>
          </a:p>
          <a:p>
            <a:pPr lvl="0"/>
            <a:endParaRPr lang="en-NZ" dirty="0" smtClean="0"/>
          </a:p>
          <a:p>
            <a:r>
              <a:rPr lang="en-GB" dirty="0" smtClean="0"/>
              <a:t>Any questions  </a:t>
            </a:r>
            <a:endParaRPr lang="en-US" dirty="0" smtClean="0"/>
          </a:p>
          <a:p>
            <a:pPr>
              <a:buNone/>
            </a:pPr>
            <a:endParaRPr lang="en-US" dirty="0" smtClean="0"/>
          </a:p>
        </p:txBody>
      </p:sp>
      <p:cxnSp>
        <p:nvCxnSpPr>
          <p:cNvPr id="4" name="Straight Connector 3"/>
          <p:cNvCxnSpPr/>
          <p:nvPr/>
        </p:nvCxnSpPr>
        <p:spPr>
          <a:xfrm>
            <a:off x="428596" y="1571612"/>
            <a:ext cx="778674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93978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Milk Production in China</a:t>
            </a:r>
            <a:br>
              <a:rPr lang="en-US" dirty="0" smtClean="0"/>
            </a:br>
            <a:r>
              <a:rPr lang="en-US" altLang="zh-CN" sz="3200" dirty="0" smtClean="0">
                <a:solidFill>
                  <a:schemeClr val="tx1"/>
                </a:solidFill>
                <a:ea typeface="宋体" pitchFamily="2" charset="-122"/>
              </a:rPr>
              <a:t> </a:t>
            </a:r>
            <a:r>
              <a:rPr lang="en-US" altLang="zh-CN" sz="1600" dirty="0" smtClean="0">
                <a:solidFill>
                  <a:schemeClr val="tx1"/>
                </a:solidFill>
                <a:ea typeface="宋体" pitchFamily="2" charset="-122"/>
              </a:rPr>
              <a:t>(From FSG analysis, China Knowledge, EIU )</a:t>
            </a:r>
            <a:endParaRPr lang="en-NZ" dirty="0"/>
          </a:p>
        </p:txBody>
      </p:sp>
      <p:grpSp>
        <p:nvGrpSpPr>
          <p:cNvPr id="4" name="Group 157"/>
          <p:cNvGrpSpPr>
            <a:grpSpLocks/>
          </p:cNvGrpSpPr>
          <p:nvPr/>
        </p:nvGrpSpPr>
        <p:grpSpPr bwMode="auto">
          <a:xfrm>
            <a:off x="-5715072" y="-357214"/>
            <a:ext cx="13358906" cy="6686558"/>
            <a:chOff x="4" y="0"/>
            <a:chExt cx="6010" cy="3944"/>
          </a:xfrm>
        </p:grpSpPr>
        <p:sp>
          <p:nvSpPr>
            <p:cNvPr id="5" name="Rectangle 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139" y="1119"/>
              <a:ext cx="2875" cy="2825"/>
            </a:xfrm>
            <a:prstGeom prst="rect">
              <a:avLst/>
            </a:prstGeom>
            <a:noFill/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6" name="Rectangle 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211" y="1165"/>
              <a:ext cx="1910" cy="1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66700" indent="-266700" eaLnBrk="0" hangingPunct="0">
                <a:lnSpc>
                  <a:spcPct val="100000"/>
                </a:lnSpc>
                <a:spcBef>
                  <a:spcPct val="40000"/>
                </a:spcBef>
                <a:buFont typeface="Wingdings" pitchFamily="2" charset="2"/>
                <a:buNone/>
              </a:pPr>
              <a:r>
                <a:rPr lang="en-US" altLang="zh-CN" sz="1400" b="1">
                  <a:ea typeface="宋体" pitchFamily="2" charset="-122"/>
                </a:rPr>
                <a:t>Milk production volume, 2011 estimated</a:t>
              </a:r>
            </a:p>
          </p:txBody>
        </p:sp>
        <p:sp>
          <p:nvSpPr>
            <p:cNvPr id="7" name="Freeform 85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3184" y="1378"/>
              <a:ext cx="2784" cy="2150"/>
            </a:xfrm>
            <a:custGeom>
              <a:avLst/>
              <a:gdLst>
                <a:gd name="T0" fmla="*/ 678 w 5178"/>
                <a:gd name="T1" fmla="*/ 1245 h 3973"/>
                <a:gd name="T2" fmla="*/ 711 w 5178"/>
                <a:gd name="T3" fmla="*/ 981 h 3973"/>
                <a:gd name="T4" fmla="*/ 970 w 5178"/>
                <a:gd name="T5" fmla="*/ 856 h 3973"/>
                <a:gd name="T6" fmla="*/ 1230 w 5178"/>
                <a:gd name="T7" fmla="*/ 730 h 3973"/>
                <a:gd name="T8" fmla="*/ 1449 w 5178"/>
                <a:gd name="T9" fmla="*/ 642 h 3973"/>
                <a:gd name="T10" fmla="*/ 1632 w 5178"/>
                <a:gd name="T11" fmla="*/ 868 h 3973"/>
                <a:gd name="T12" fmla="*/ 1921 w 5178"/>
                <a:gd name="T13" fmla="*/ 1200 h 3973"/>
                <a:gd name="T14" fmla="*/ 2460 w 5178"/>
                <a:gd name="T15" fmla="*/ 1449 h 3973"/>
                <a:gd name="T16" fmla="*/ 3025 w 5178"/>
                <a:gd name="T17" fmla="*/ 1450 h 3973"/>
                <a:gd name="T18" fmla="*/ 3406 w 5178"/>
                <a:gd name="T19" fmla="*/ 1113 h 3973"/>
                <a:gd name="T20" fmla="*/ 3819 w 5178"/>
                <a:gd name="T21" fmla="*/ 906 h 3973"/>
                <a:gd name="T22" fmla="*/ 3879 w 5178"/>
                <a:gd name="T23" fmla="*/ 711 h 3973"/>
                <a:gd name="T24" fmla="*/ 3699 w 5178"/>
                <a:gd name="T25" fmla="*/ 603 h 3973"/>
                <a:gd name="T26" fmla="*/ 3936 w 5178"/>
                <a:gd name="T27" fmla="*/ 319 h 3973"/>
                <a:gd name="T28" fmla="*/ 3975 w 5178"/>
                <a:gd name="T29" fmla="*/ 57 h 3973"/>
                <a:gd name="T30" fmla="*/ 4339 w 5178"/>
                <a:gd name="T31" fmla="*/ 39 h 3973"/>
                <a:gd name="T32" fmla="*/ 4552 w 5178"/>
                <a:gd name="T33" fmla="*/ 351 h 3973"/>
                <a:gd name="T34" fmla="*/ 4872 w 5178"/>
                <a:gd name="T35" fmla="*/ 544 h 3973"/>
                <a:gd name="T36" fmla="*/ 5142 w 5178"/>
                <a:gd name="T37" fmla="*/ 499 h 3973"/>
                <a:gd name="T38" fmla="*/ 5005 w 5178"/>
                <a:gd name="T39" fmla="*/ 808 h 3973"/>
                <a:gd name="T40" fmla="*/ 4980 w 5178"/>
                <a:gd name="T41" fmla="*/ 1105 h 3973"/>
                <a:gd name="T42" fmla="*/ 4758 w 5178"/>
                <a:gd name="T43" fmla="*/ 1303 h 3973"/>
                <a:gd name="T44" fmla="*/ 4509 w 5178"/>
                <a:gd name="T45" fmla="*/ 1575 h 3973"/>
                <a:gd name="T46" fmla="*/ 4336 w 5178"/>
                <a:gd name="T47" fmla="*/ 1671 h 3973"/>
                <a:gd name="T48" fmla="*/ 4201 w 5178"/>
                <a:gd name="T49" fmla="*/ 1560 h 3973"/>
                <a:gd name="T50" fmla="*/ 3993 w 5178"/>
                <a:gd name="T51" fmla="*/ 1738 h 3973"/>
                <a:gd name="T52" fmla="*/ 4123 w 5178"/>
                <a:gd name="T53" fmla="*/ 1912 h 3973"/>
                <a:gd name="T54" fmla="*/ 4351 w 5178"/>
                <a:gd name="T55" fmla="*/ 1882 h 3973"/>
                <a:gd name="T56" fmla="*/ 4296 w 5178"/>
                <a:gd name="T57" fmla="*/ 1981 h 3973"/>
                <a:gd name="T58" fmla="*/ 4308 w 5178"/>
                <a:gd name="T59" fmla="*/ 2241 h 3973"/>
                <a:gd name="T60" fmla="*/ 4482 w 5178"/>
                <a:gd name="T61" fmla="*/ 2494 h 3973"/>
                <a:gd name="T62" fmla="*/ 4440 w 5178"/>
                <a:gd name="T63" fmla="*/ 2679 h 3973"/>
                <a:gd name="T64" fmla="*/ 4567 w 5178"/>
                <a:gd name="T65" fmla="*/ 2782 h 3973"/>
                <a:gd name="T66" fmla="*/ 4482 w 5178"/>
                <a:gd name="T67" fmla="*/ 3019 h 3973"/>
                <a:gd name="T68" fmla="*/ 4390 w 5178"/>
                <a:gd name="T69" fmla="*/ 3226 h 3973"/>
                <a:gd name="T70" fmla="*/ 4258 w 5178"/>
                <a:gd name="T71" fmla="*/ 3405 h 3973"/>
                <a:gd name="T72" fmla="*/ 4099 w 5178"/>
                <a:gd name="T73" fmla="*/ 3595 h 3973"/>
                <a:gd name="T74" fmla="*/ 3817 w 5178"/>
                <a:gd name="T75" fmla="*/ 3642 h 3973"/>
                <a:gd name="T76" fmla="*/ 3577 w 5178"/>
                <a:gd name="T77" fmla="*/ 3826 h 3973"/>
                <a:gd name="T78" fmla="*/ 3399 w 5178"/>
                <a:gd name="T79" fmla="*/ 3879 h 3973"/>
                <a:gd name="T80" fmla="*/ 3198 w 5178"/>
                <a:gd name="T81" fmla="*/ 3817 h 3973"/>
                <a:gd name="T82" fmla="*/ 3000 w 5178"/>
                <a:gd name="T83" fmla="*/ 3679 h 3973"/>
                <a:gd name="T84" fmla="*/ 2760 w 5178"/>
                <a:gd name="T85" fmla="*/ 3726 h 3973"/>
                <a:gd name="T86" fmla="*/ 2494 w 5178"/>
                <a:gd name="T87" fmla="*/ 3786 h 3973"/>
                <a:gd name="T88" fmla="*/ 2332 w 5178"/>
                <a:gd name="T89" fmla="*/ 3834 h 3973"/>
                <a:gd name="T90" fmla="*/ 2202 w 5178"/>
                <a:gd name="T91" fmla="*/ 3619 h 3973"/>
                <a:gd name="T92" fmla="*/ 2065 w 5178"/>
                <a:gd name="T93" fmla="*/ 3477 h 3973"/>
                <a:gd name="T94" fmla="*/ 2199 w 5178"/>
                <a:gd name="T95" fmla="*/ 3219 h 3973"/>
                <a:gd name="T96" fmla="*/ 2005 w 5178"/>
                <a:gd name="T97" fmla="*/ 3055 h 3973"/>
                <a:gd name="T98" fmla="*/ 1813 w 5178"/>
                <a:gd name="T99" fmla="*/ 2952 h 3973"/>
                <a:gd name="T100" fmla="*/ 1533 w 5178"/>
                <a:gd name="T101" fmla="*/ 3066 h 3973"/>
                <a:gd name="T102" fmla="*/ 1174 w 5178"/>
                <a:gd name="T103" fmla="*/ 3078 h 3973"/>
                <a:gd name="T104" fmla="*/ 915 w 5178"/>
                <a:gd name="T105" fmla="*/ 2980 h 3973"/>
                <a:gd name="T106" fmla="*/ 651 w 5178"/>
                <a:gd name="T107" fmla="*/ 2800 h 3973"/>
                <a:gd name="T108" fmla="*/ 397 w 5178"/>
                <a:gd name="T109" fmla="*/ 2586 h 3973"/>
                <a:gd name="T110" fmla="*/ 253 w 5178"/>
                <a:gd name="T111" fmla="*/ 2308 h 3973"/>
                <a:gd name="T112" fmla="*/ 340 w 5178"/>
                <a:gd name="T113" fmla="*/ 2148 h 3973"/>
                <a:gd name="T114" fmla="*/ 121 w 5178"/>
                <a:gd name="T115" fmla="*/ 1857 h 3973"/>
                <a:gd name="T116" fmla="*/ 58 w 5178"/>
                <a:gd name="T117" fmla="*/ 1563 h 3973"/>
                <a:gd name="T118" fmla="*/ 130 w 5178"/>
                <a:gd name="T119" fmla="*/ 1368 h 397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178"/>
                <a:gd name="T181" fmla="*/ 0 h 3973"/>
                <a:gd name="T182" fmla="*/ 5178 w 5178"/>
                <a:gd name="T183" fmla="*/ 3973 h 397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178" h="3973">
                  <a:moveTo>
                    <a:pt x="328" y="1365"/>
                  </a:moveTo>
                  <a:lnTo>
                    <a:pt x="334" y="1344"/>
                  </a:lnTo>
                  <a:lnTo>
                    <a:pt x="355" y="1339"/>
                  </a:lnTo>
                  <a:lnTo>
                    <a:pt x="376" y="1351"/>
                  </a:lnTo>
                  <a:lnTo>
                    <a:pt x="406" y="1362"/>
                  </a:lnTo>
                  <a:lnTo>
                    <a:pt x="441" y="1365"/>
                  </a:lnTo>
                  <a:lnTo>
                    <a:pt x="453" y="1356"/>
                  </a:lnTo>
                  <a:lnTo>
                    <a:pt x="472" y="1344"/>
                  </a:lnTo>
                  <a:lnTo>
                    <a:pt x="493" y="1330"/>
                  </a:lnTo>
                  <a:lnTo>
                    <a:pt x="520" y="1326"/>
                  </a:lnTo>
                  <a:lnTo>
                    <a:pt x="547" y="1312"/>
                  </a:lnTo>
                  <a:lnTo>
                    <a:pt x="564" y="1303"/>
                  </a:lnTo>
                  <a:lnTo>
                    <a:pt x="609" y="1308"/>
                  </a:lnTo>
                  <a:lnTo>
                    <a:pt x="625" y="1297"/>
                  </a:lnTo>
                  <a:lnTo>
                    <a:pt x="640" y="1284"/>
                  </a:lnTo>
                  <a:lnTo>
                    <a:pt x="667" y="1285"/>
                  </a:lnTo>
                  <a:lnTo>
                    <a:pt x="678" y="1276"/>
                  </a:lnTo>
                  <a:lnTo>
                    <a:pt x="678" y="1245"/>
                  </a:lnTo>
                  <a:lnTo>
                    <a:pt x="673" y="1230"/>
                  </a:lnTo>
                  <a:lnTo>
                    <a:pt x="675" y="1213"/>
                  </a:lnTo>
                  <a:lnTo>
                    <a:pt x="699" y="1212"/>
                  </a:lnTo>
                  <a:lnTo>
                    <a:pt x="697" y="1188"/>
                  </a:lnTo>
                  <a:lnTo>
                    <a:pt x="714" y="1191"/>
                  </a:lnTo>
                  <a:lnTo>
                    <a:pt x="732" y="1188"/>
                  </a:lnTo>
                  <a:lnTo>
                    <a:pt x="730" y="1167"/>
                  </a:lnTo>
                  <a:lnTo>
                    <a:pt x="733" y="1134"/>
                  </a:lnTo>
                  <a:lnTo>
                    <a:pt x="750" y="1119"/>
                  </a:lnTo>
                  <a:lnTo>
                    <a:pt x="736" y="1099"/>
                  </a:lnTo>
                  <a:lnTo>
                    <a:pt x="735" y="1075"/>
                  </a:lnTo>
                  <a:lnTo>
                    <a:pt x="723" y="1065"/>
                  </a:lnTo>
                  <a:lnTo>
                    <a:pt x="718" y="1048"/>
                  </a:lnTo>
                  <a:lnTo>
                    <a:pt x="735" y="1042"/>
                  </a:lnTo>
                  <a:lnTo>
                    <a:pt x="739" y="1017"/>
                  </a:lnTo>
                  <a:lnTo>
                    <a:pt x="748" y="999"/>
                  </a:lnTo>
                  <a:lnTo>
                    <a:pt x="736" y="985"/>
                  </a:lnTo>
                  <a:lnTo>
                    <a:pt x="711" y="981"/>
                  </a:lnTo>
                  <a:lnTo>
                    <a:pt x="709" y="963"/>
                  </a:lnTo>
                  <a:lnTo>
                    <a:pt x="723" y="954"/>
                  </a:lnTo>
                  <a:lnTo>
                    <a:pt x="772" y="957"/>
                  </a:lnTo>
                  <a:lnTo>
                    <a:pt x="811" y="955"/>
                  </a:lnTo>
                  <a:lnTo>
                    <a:pt x="825" y="943"/>
                  </a:lnTo>
                  <a:lnTo>
                    <a:pt x="858" y="940"/>
                  </a:lnTo>
                  <a:lnTo>
                    <a:pt x="870" y="955"/>
                  </a:lnTo>
                  <a:lnTo>
                    <a:pt x="876" y="973"/>
                  </a:lnTo>
                  <a:lnTo>
                    <a:pt x="915" y="966"/>
                  </a:lnTo>
                  <a:lnTo>
                    <a:pt x="925" y="982"/>
                  </a:lnTo>
                  <a:lnTo>
                    <a:pt x="940" y="979"/>
                  </a:lnTo>
                  <a:lnTo>
                    <a:pt x="945" y="948"/>
                  </a:lnTo>
                  <a:lnTo>
                    <a:pt x="913" y="948"/>
                  </a:lnTo>
                  <a:lnTo>
                    <a:pt x="909" y="928"/>
                  </a:lnTo>
                  <a:lnTo>
                    <a:pt x="922" y="919"/>
                  </a:lnTo>
                  <a:lnTo>
                    <a:pt x="937" y="900"/>
                  </a:lnTo>
                  <a:lnTo>
                    <a:pt x="955" y="880"/>
                  </a:lnTo>
                  <a:lnTo>
                    <a:pt x="970" y="856"/>
                  </a:lnTo>
                  <a:lnTo>
                    <a:pt x="984" y="843"/>
                  </a:lnTo>
                  <a:lnTo>
                    <a:pt x="982" y="828"/>
                  </a:lnTo>
                  <a:lnTo>
                    <a:pt x="993" y="802"/>
                  </a:lnTo>
                  <a:lnTo>
                    <a:pt x="1012" y="784"/>
                  </a:lnTo>
                  <a:lnTo>
                    <a:pt x="1012" y="763"/>
                  </a:lnTo>
                  <a:lnTo>
                    <a:pt x="1027" y="756"/>
                  </a:lnTo>
                  <a:lnTo>
                    <a:pt x="1047" y="768"/>
                  </a:lnTo>
                  <a:lnTo>
                    <a:pt x="1071" y="798"/>
                  </a:lnTo>
                  <a:lnTo>
                    <a:pt x="1096" y="792"/>
                  </a:lnTo>
                  <a:lnTo>
                    <a:pt x="1122" y="804"/>
                  </a:lnTo>
                  <a:lnTo>
                    <a:pt x="1146" y="804"/>
                  </a:lnTo>
                  <a:lnTo>
                    <a:pt x="1150" y="823"/>
                  </a:lnTo>
                  <a:lnTo>
                    <a:pt x="1179" y="820"/>
                  </a:lnTo>
                  <a:lnTo>
                    <a:pt x="1186" y="799"/>
                  </a:lnTo>
                  <a:lnTo>
                    <a:pt x="1210" y="807"/>
                  </a:lnTo>
                  <a:lnTo>
                    <a:pt x="1231" y="801"/>
                  </a:lnTo>
                  <a:lnTo>
                    <a:pt x="1233" y="778"/>
                  </a:lnTo>
                  <a:lnTo>
                    <a:pt x="1230" y="730"/>
                  </a:lnTo>
                  <a:lnTo>
                    <a:pt x="1231" y="688"/>
                  </a:lnTo>
                  <a:lnTo>
                    <a:pt x="1249" y="687"/>
                  </a:lnTo>
                  <a:lnTo>
                    <a:pt x="1246" y="661"/>
                  </a:lnTo>
                  <a:lnTo>
                    <a:pt x="1260" y="654"/>
                  </a:lnTo>
                  <a:lnTo>
                    <a:pt x="1290" y="664"/>
                  </a:lnTo>
                  <a:lnTo>
                    <a:pt x="1297" y="651"/>
                  </a:lnTo>
                  <a:lnTo>
                    <a:pt x="1321" y="660"/>
                  </a:lnTo>
                  <a:lnTo>
                    <a:pt x="1324" y="637"/>
                  </a:lnTo>
                  <a:lnTo>
                    <a:pt x="1347" y="622"/>
                  </a:lnTo>
                  <a:lnTo>
                    <a:pt x="1342" y="597"/>
                  </a:lnTo>
                  <a:lnTo>
                    <a:pt x="1357" y="592"/>
                  </a:lnTo>
                  <a:lnTo>
                    <a:pt x="1372" y="580"/>
                  </a:lnTo>
                  <a:lnTo>
                    <a:pt x="1387" y="595"/>
                  </a:lnTo>
                  <a:lnTo>
                    <a:pt x="1420" y="594"/>
                  </a:lnTo>
                  <a:lnTo>
                    <a:pt x="1441" y="597"/>
                  </a:lnTo>
                  <a:lnTo>
                    <a:pt x="1438" y="615"/>
                  </a:lnTo>
                  <a:lnTo>
                    <a:pt x="1432" y="637"/>
                  </a:lnTo>
                  <a:lnTo>
                    <a:pt x="1449" y="642"/>
                  </a:lnTo>
                  <a:lnTo>
                    <a:pt x="1443" y="678"/>
                  </a:lnTo>
                  <a:lnTo>
                    <a:pt x="1468" y="672"/>
                  </a:lnTo>
                  <a:lnTo>
                    <a:pt x="1470" y="693"/>
                  </a:lnTo>
                  <a:lnTo>
                    <a:pt x="1483" y="700"/>
                  </a:lnTo>
                  <a:lnTo>
                    <a:pt x="1489" y="717"/>
                  </a:lnTo>
                  <a:lnTo>
                    <a:pt x="1492" y="735"/>
                  </a:lnTo>
                  <a:lnTo>
                    <a:pt x="1500" y="748"/>
                  </a:lnTo>
                  <a:lnTo>
                    <a:pt x="1536" y="748"/>
                  </a:lnTo>
                  <a:lnTo>
                    <a:pt x="1551" y="738"/>
                  </a:lnTo>
                  <a:lnTo>
                    <a:pt x="1563" y="748"/>
                  </a:lnTo>
                  <a:lnTo>
                    <a:pt x="1564" y="774"/>
                  </a:lnTo>
                  <a:lnTo>
                    <a:pt x="1594" y="769"/>
                  </a:lnTo>
                  <a:lnTo>
                    <a:pt x="1600" y="789"/>
                  </a:lnTo>
                  <a:lnTo>
                    <a:pt x="1617" y="787"/>
                  </a:lnTo>
                  <a:lnTo>
                    <a:pt x="1609" y="832"/>
                  </a:lnTo>
                  <a:lnTo>
                    <a:pt x="1623" y="837"/>
                  </a:lnTo>
                  <a:lnTo>
                    <a:pt x="1618" y="862"/>
                  </a:lnTo>
                  <a:lnTo>
                    <a:pt x="1632" y="868"/>
                  </a:lnTo>
                  <a:lnTo>
                    <a:pt x="1629" y="886"/>
                  </a:lnTo>
                  <a:lnTo>
                    <a:pt x="1651" y="895"/>
                  </a:lnTo>
                  <a:lnTo>
                    <a:pt x="1648" y="924"/>
                  </a:lnTo>
                  <a:lnTo>
                    <a:pt x="1651" y="961"/>
                  </a:lnTo>
                  <a:lnTo>
                    <a:pt x="1633" y="966"/>
                  </a:lnTo>
                  <a:lnTo>
                    <a:pt x="1630" y="999"/>
                  </a:lnTo>
                  <a:lnTo>
                    <a:pt x="1618" y="1012"/>
                  </a:lnTo>
                  <a:lnTo>
                    <a:pt x="1618" y="1042"/>
                  </a:lnTo>
                  <a:lnTo>
                    <a:pt x="1609" y="1065"/>
                  </a:lnTo>
                  <a:lnTo>
                    <a:pt x="1633" y="1084"/>
                  </a:lnTo>
                  <a:lnTo>
                    <a:pt x="1662" y="1105"/>
                  </a:lnTo>
                  <a:lnTo>
                    <a:pt x="1719" y="1105"/>
                  </a:lnTo>
                  <a:lnTo>
                    <a:pt x="1734" y="1125"/>
                  </a:lnTo>
                  <a:lnTo>
                    <a:pt x="1795" y="1119"/>
                  </a:lnTo>
                  <a:lnTo>
                    <a:pt x="1816" y="1143"/>
                  </a:lnTo>
                  <a:lnTo>
                    <a:pt x="1851" y="1146"/>
                  </a:lnTo>
                  <a:lnTo>
                    <a:pt x="1882" y="1168"/>
                  </a:lnTo>
                  <a:lnTo>
                    <a:pt x="1921" y="1200"/>
                  </a:lnTo>
                  <a:lnTo>
                    <a:pt x="1944" y="1221"/>
                  </a:lnTo>
                  <a:lnTo>
                    <a:pt x="1977" y="1224"/>
                  </a:lnTo>
                  <a:lnTo>
                    <a:pt x="1993" y="1231"/>
                  </a:lnTo>
                  <a:lnTo>
                    <a:pt x="1995" y="1270"/>
                  </a:lnTo>
                  <a:lnTo>
                    <a:pt x="2016" y="1284"/>
                  </a:lnTo>
                  <a:lnTo>
                    <a:pt x="2014" y="1311"/>
                  </a:lnTo>
                  <a:lnTo>
                    <a:pt x="2037" y="1357"/>
                  </a:lnTo>
                  <a:lnTo>
                    <a:pt x="2065" y="1383"/>
                  </a:lnTo>
                  <a:lnTo>
                    <a:pt x="2071" y="1411"/>
                  </a:lnTo>
                  <a:lnTo>
                    <a:pt x="2101" y="1423"/>
                  </a:lnTo>
                  <a:lnTo>
                    <a:pt x="2164" y="1425"/>
                  </a:lnTo>
                  <a:lnTo>
                    <a:pt x="2245" y="1428"/>
                  </a:lnTo>
                  <a:lnTo>
                    <a:pt x="2293" y="1438"/>
                  </a:lnTo>
                  <a:lnTo>
                    <a:pt x="2340" y="1438"/>
                  </a:lnTo>
                  <a:lnTo>
                    <a:pt x="2371" y="1434"/>
                  </a:lnTo>
                  <a:lnTo>
                    <a:pt x="2419" y="1431"/>
                  </a:lnTo>
                  <a:lnTo>
                    <a:pt x="2427" y="1447"/>
                  </a:lnTo>
                  <a:lnTo>
                    <a:pt x="2460" y="1449"/>
                  </a:lnTo>
                  <a:lnTo>
                    <a:pt x="2503" y="1447"/>
                  </a:lnTo>
                  <a:lnTo>
                    <a:pt x="2538" y="1455"/>
                  </a:lnTo>
                  <a:lnTo>
                    <a:pt x="2557" y="1465"/>
                  </a:lnTo>
                  <a:lnTo>
                    <a:pt x="2553" y="1482"/>
                  </a:lnTo>
                  <a:lnTo>
                    <a:pt x="2572" y="1486"/>
                  </a:lnTo>
                  <a:lnTo>
                    <a:pt x="2604" y="1509"/>
                  </a:lnTo>
                  <a:lnTo>
                    <a:pt x="2638" y="1507"/>
                  </a:lnTo>
                  <a:lnTo>
                    <a:pt x="2643" y="1519"/>
                  </a:lnTo>
                  <a:lnTo>
                    <a:pt x="2668" y="1518"/>
                  </a:lnTo>
                  <a:lnTo>
                    <a:pt x="2686" y="1533"/>
                  </a:lnTo>
                  <a:lnTo>
                    <a:pt x="2730" y="1534"/>
                  </a:lnTo>
                  <a:lnTo>
                    <a:pt x="2760" y="1524"/>
                  </a:lnTo>
                  <a:lnTo>
                    <a:pt x="2781" y="1525"/>
                  </a:lnTo>
                  <a:lnTo>
                    <a:pt x="2794" y="1560"/>
                  </a:lnTo>
                  <a:lnTo>
                    <a:pt x="2817" y="1555"/>
                  </a:lnTo>
                  <a:lnTo>
                    <a:pt x="2857" y="1525"/>
                  </a:lnTo>
                  <a:lnTo>
                    <a:pt x="2958" y="1480"/>
                  </a:lnTo>
                  <a:lnTo>
                    <a:pt x="3025" y="1450"/>
                  </a:lnTo>
                  <a:lnTo>
                    <a:pt x="3109" y="1443"/>
                  </a:lnTo>
                  <a:lnTo>
                    <a:pt x="3195" y="1444"/>
                  </a:lnTo>
                  <a:lnTo>
                    <a:pt x="3241" y="1416"/>
                  </a:lnTo>
                  <a:lnTo>
                    <a:pt x="3271" y="1411"/>
                  </a:lnTo>
                  <a:lnTo>
                    <a:pt x="3304" y="1377"/>
                  </a:lnTo>
                  <a:lnTo>
                    <a:pt x="3313" y="1353"/>
                  </a:lnTo>
                  <a:lnTo>
                    <a:pt x="3330" y="1330"/>
                  </a:lnTo>
                  <a:lnTo>
                    <a:pt x="3349" y="1312"/>
                  </a:lnTo>
                  <a:lnTo>
                    <a:pt x="3376" y="1302"/>
                  </a:lnTo>
                  <a:lnTo>
                    <a:pt x="3406" y="1279"/>
                  </a:lnTo>
                  <a:lnTo>
                    <a:pt x="3412" y="1263"/>
                  </a:lnTo>
                  <a:lnTo>
                    <a:pt x="3385" y="1237"/>
                  </a:lnTo>
                  <a:lnTo>
                    <a:pt x="3367" y="1215"/>
                  </a:lnTo>
                  <a:lnTo>
                    <a:pt x="3360" y="1177"/>
                  </a:lnTo>
                  <a:lnTo>
                    <a:pt x="3375" y="1173"/>
                  </a:lnTo>
                  <a:lnTo>
                    <a:pt x="3375" y="1146"/>
                  </a:lnTo>
                  <a:lnTo>
                    <a:pt x="3385" y="1125"/>
                  </a:lnTo>
                  <a:lnTo>
                    <a:pt x="3406" y="1113"/>
                  </a:lnTo>
                  <a:lnTo>
                    <a:pt x="3427" y="1116"/>
                  </a:lnTo>
                  <a:lnTo>
                    <a:pt x="3453" y="1137"/>
                  </a:lnTo>
                  <a:lnTo>
                    <a:pt x="3496" y="1141"/>
                  </a:lnTo>
                  <a:lnTo>
                    <a:pt x="3547" y="1135"/>
                  </a:lnTo>
                  <a:lnTo>
                    <a:pt x="3550" y="1119"/>
                  </a:lnTo>
                  <a:lnTo>
                    <a:pt x="3571" y="1120"/>
                  </a:lnTo>
                  <a:lnTo>
                    <a:pt x="3585" y="1102"/>
                  </a:lnTo>
                  <a:lnTo>
                    <a:pt x="3601" y="1093"/>
                  </a:lnTo>
                  <a:lnTo>
                    <a:pt x="3603" y="1066"/>
                  </a:lnTo>
                  <a:lnTo>
                    <a:pt x="3624" y="1050"/>
                  </a:lnTo>
                  <a:lnTo>
                    <a:pt x="3687" y="1050"/>
                  </a:lnTo>
                  <a:lnTo>
                    <a:pt x="3714" y="1027"/>
                  </a:lnTo>
                  <a:lnTo>
                    <a:pt x="3747" y="1006"/>
                  </a:lnTo>
                  <a:lnTo>
                    <a:pt x="3747" y="952"/>
                  </a:lnTo>
                  <a:lnTo>
                    <a:pt x="3765" y="939"/>
                  </a:lnTo>
                  <a:lnTo>
                    <a:pt x="3786" y="922"/>
                  </a:lnTo>
                  <a:lnTo>
                    <a:pt x="3811" y="922"/>
                  </a:lnTo>
                  <a:lnTo>
                    <a:pt x="3819" y="906"/>
                  </a:lnTo>
                  <a:lnTo>
                    <a:pt x="3837" y="889"/>
                  </a:lnTo>
                  <a:lnTo>
                    <a:pt x="3867" y="889"/>
                  </a:lnTo>
                  <a:lnTo>
                    <a:pt x="3886" y="864"/>
                  </a:lnTo>
                  <a:lnTo>
                    <a:pt x="3928" y="868"/>
                  </a:lnTo>
                  <a:lnTo>
                    <a:pt x="3948" y="850"/>
                  </a:lnTo>
                  <a:lnTo>
                    <a:pt x="3961" y="868"/>
                  </a:lnTo>
                  <a:lnTo>
                    <a:pt x="3981" y="870"/>
                  </a:lnTo>
                  <a:lnTo>
                    <a:pt x="3997" y="867"/>
                  </a:lnTo>
                  <a:lnTo>
                    <a:pt x="3999" y="853"/>
                  </a:lnTo>
                  <a:lnTo>
                    <a:pt x="4014" y="840"/>
                  </a:lnTo>
                  <a:lnTo>
                    <a:pt x="4027" y="828"/>
                  </a:lnTo>
                  <a:lnTo>
                    <a:pt x="4008" y="811"/>
                  </a:lnTo>
                  <a:lnTo>
                    <a:pt x="3984" y="786"/>
                  </a:lnTo>
                  <a:lnTo>
                    <a:pt x="3966" y="759"/>
                  </a:lnTo>
                  <a:lnTo>
                    <a:pt x="3945" y="754"/>
                  </a:lnTo>
                  <a:lnTo>
                    <a:pt x="3939" y="732"/>
                  </a:lnTo>
                  <a:lnTo>
                    <a:pt x="3906" y="733"/>
                  </a:lnTo>
                  <a:lnTo>
                    <a:pt x="3879" y="711"/>
                  </a:lnTo>
                  <a:lnTo>
                    <a:pt x="3849" y="708"/>
                  </a:lnTo>
                  <a:lnTo>
                    <a:pt x="3825" y="729"/>
                  </a:lnTo>
                  <a:lnTo>
                    <a:pt x="3808" y="747"/>
                  </a:lnTo>
                  <a:lnTo>
                    <a:pt x="3795" y="765"/>
                  </a:lnTo>
                  <a:lnTo>
                    <a:pt x="3781" y="747"/>
                  </a:lnTo>
                  <a:lnTo>
                    <a:pt x="3756" y="745"/>
                  </a:lnTo>
                  <a:lnTo>
                    <a:pt x="3732" y="763"/>
                  </a:lnTo>
                  <a:lnTo>
                    <a:pt x="3709" y="751"/>
                  </a:lnTo>
                  <a:lnTo>
                    <a:pt x="3696" y="771"/>
                  </a:lnTo>
                  <a:lnTo>
                    <a:pt x="3663" y="765"/>
                  </a:lnTo>
                  <a:lnTo>
                    <a:pt x="3663" y="748"/>
                  </a:lnTo>
                  <a:lnTo>
                    <a:pt x="3642" y="727"/>
                  </a:lnTo>
                  <a:lnTo>
                    <a:pt x="3669" y="720"/>
                  </a:lnTo>
                  <a:lnTo>
                    <a:pt x="3678" y="714"/>
                  </a:lnTo>
                  <a:lnTo>
                    <a:pt x="3675" y="664"/>
                  </a:lnTo>
                  <a:lnTo>
                    <a:pt x="3690" y="660"/>
                  </a:lnTo>
                  <a:lnTo>
                    <a:pt x="3684" y="630"/>
                  </a:lnTo>
                  <a:lnTo>
                    <a:pt x="3699" y="603"/>
                  </a:lnTo>
                  <a:lnTo>
                    <a:pt x="3697" y="549"/>
                  </a:lnTo>
                  <a:lnTo>
                    <a:pt x="3711" y="547"/>
                  </a:lnTo>
                  <a:lnTo>
                    <a:pt x="3712" y="525"/>
                  </a:lnTo>
                  <a:lnTo>
                    <a:pt x="3739" y="541"/>
                  </a:lnTo>
                  <a:lnTo>
                    <a:pt x="3774" y="541"/>
                  </a:lnTo>
                  <a:lnTo>
                    <a:pt x="3798" y="553"/>
                  </a:lnTo>
                  <a:lnTo>
                    <a:pt x="3816" y="543"/>
                  </a:lnTo>
                  <a:lnTo>
                    <a:pt x="3838" y="510"/>
                  </a:lnTo>
                  <a:lnTo>
                    <a:pt x="3870" y="484"/>
                  </a:lnTo>
                  <a:lnTo>
                    <a:pt x="3897" y="481"/>
                  </a:lnTo>
                  <a:lnTo>
                    <a:pt x="3915" y="466"/>
                  </a:lnTo>
                  <a:lnTo>
                    <a:pt x="3918" y="441"/>
                  </a:lnTo>
                  <a:lnTo>
                    <a:pt x="3897" y="424"/>
                  </a:lnTo>
                  <a:lnTo>
                    <a:pt x="3900" y="391"/>
                  </a:lnTo>
                  <a:lnTo>
                    <a:pt x="3916" y="387"/>
                  </a:lnTo>
                  <a:lnTo>
                    <a:pt x="3915" y="369"/>
                  </a:lnTo>
                  <a:lnTo>
                    <a:pt x="3921" y="342"/>
                  </a:lnTo>
                  <a:lnTo>
                    <a:pt x="3936" y="319"/>
                  </a:lnTo>
                  <a:lnTo>
                    <a:pt x="3937" y="280"/>
                  </a:lnTo>
                  <a:lnTo>
                    <a:pt x="3949" y="271"/>
                  </a:lnTo>
                  <a:lnTo>
                    <a:pt x="3951" y="243"/>
                  </a:lnTo>
                  <a:lnTo>
                    <a:pt x="3976" y="229"/>
                  </a:lnTo>
                  <a:lnTo>
                    <a:pt x="3984" y="208"/>
                  </a:lnTo>
                  <a:lnTo>
                    <a:pt x="3979" y="181"/>
                  </a:lnTo>
                  <a:lnTo>
                    <a:pt x="3963" y="181"/>
                  </a:lnTo>
                  <a:lnTo>
                    <a:pt x="3966" y="154"/>
                  </a:lnTo>
                  <a:lnTo>
                    <a:pt x="3948" y="153"/>
                  </a:lnTo>
                  <a:lnTo>
                    <a:pt x="3919" y="157"/>
                  </a:lnTo>
                  <a:lnTo>
                    <a:pt x="3927" y="144"/>
                  </a:lnTo>
                  <a:lnTo>
                    <a:pt x="3924" y="121"/>
                  </a:lnTo>
                  <a:lnTo>
                    <a:pt x="3940" y="120"/>
                  </a:lnTo>
                  <a:lnTo>
                    <a:pt x="3942" y="91"/>
                  </a:lnTo>
                  <a:lnTo>
                    <a:pt x="3958" y="93"/>
                  </a:lnTo>
                  <a:lnTo>
                    <a:pt x="3955" y="73"/>
                  </a:lnTo>
                  <a:lnTo>
                    <a:pt x="3975" y="72"/>
                  </a:lnTo>
                  <a:lnTo>
                    <a:pt x="3975" y="57"/>
                  </a:lnTo>
                  <a:lnTo>
                    <a:pt x="4003" y="63"/>
                  </a:lnTo>
                  <a:lnTo>
                    <a:pt x="4014" y="46"/>
                  </a:lnTo>
                  <a:lnTo>
                    <a:pt x="4029" y="36"/>
                  </a:lnTo>
                  <a:lnTo>
                    <a:pt x="4045" y="36"/>
                  </a:lnTo>
                  <a:lnTo>
                    <a:pt x="4044" y="25"/>
                  </a:lnTo>
                  <a:lnTo>
                    <a:pt x="4090" y="27"/>
                  </a:lnTo>
                  <a:lnTo>
                    <a:pt x="4090" y="13"/>
                  </a:lnTo>
                  <a:lnTo>
                    <a:pt x="4114" y="12"/>
                  </a:lnTo>
                  <a:lnTo>
                    <a:pt x="4129" y="18"/>
                  </a:lnTo>
                  <a:lnTo>
                    <a:pt x="4138" y="0"/>
                  </a:lnTo>
                  <a:lnTo>
                    <a:pt x="4180" y="0"/>
                  </a:lnTo>
                  <a:lnTo>
                    <a:pt x="4210" y="12"/>
                  </a:lnTo>
                  <a:lnTo>
                    <a:pt x="4227" y="27"/>
                  </a:lnTo>
                  <a:lnTo>
                    <a:pt x="4264" y="27"/>
                  </a:lnTo>
                  <a:lnTo>
                    <a:pt x="4266" y="12"/>
                  </a:lnTo>
                  <a:lnTo>
                    <a:pt x="4297" y="13"/>
                  </a:lnTo>
                  <a:lnTo>
                    <a:pt x="4317" y="36"/>
                  </a:lnTo>
                  <a:lnTo>
                    <a:pt x="4339" y="39"/>
                  </a:lnTo>
                  <a:lnTo>
                    <a:pt x="4359" y="60"/>
                  </a:lnTo>
                  <a:lnTo>
                    <a:pt x="4363" y="88"/>
                  </a:lnTo>
                  <a:lnTo>
                    <a:pt x="4386" y="87"/>
                  </a:lnTo>
                  <a:lnTo>
                    <a:pt x="4392" y="126"/>
                  </a:lnTo>
                  <a:lnTo>
                    <a:pt x="4408" y="123"/>
                  </a:lnTo>
                  <a:lnTo>
                    <a:pt x="4417" y="154"/>
                  </a:lnTo>
                  <a:lnTo>
                    <a:pt x="4434" y="154"/>
                  </a:lnTo>
                  <a:lnTo>
                    <a:pt x="4431" y="183"/>
                  </a:lnTo>
                  <a:lnTo>
                    <a:pt x="4458" y="189"/>
                  </a:lnTo>
                  <a:lnTo>
                    <a:pt x="4456" y="208"/>
                  </a:lnTo>
                  <a:lnTo>
                    <a:pt x="4465" y="229"/>
                  </a:lnTo>
                  <a:lnTo>
                    <a:pt x="4485" y="237"/>
                  </a:lnTo>
                  <a:lnTo>
                    <a:pt x="4504" y="262"/>
                  </a:lnTo>
                  <a:lnTo>
                    <a:pt x="4512" y="303"/>
                  </a:lnTo>
                  <a:lnTo>
                    <a:pt x="4531" y="306"/>
                  </a:lnTo>
                  <a:lnTo>
                    <a:pt x="4543" y="321"/>
                  </a:lnTo>
                  <a:lnTo>
                    <a:pt x="4534" y="355"/>
                  </a:lnTo>
                  <a:lnTo>
                    <a:pt x="4552" y="351"/>
                  </a:lnTo>
                  <a:lnTo>
                    <a:pt x="4552" y="366"/>
                  </a:lnTo>
                  <a:lnTo>
                    <a:pt x="4567" y="372"/>
                  </a:lnTo>
                  <a:lnTo>
                    <a:pt x="4573" y="388"/>
                  </a:lnTo>
                  <a:lnTo>
                    <a:pt x="4615" y="388"/>
                  </a:lnTo>
                  <a:lnTo>
                    <a:pt x="4623" y="373"/>
                  </a:lnTo>
                  <a:lnTo>
                    <a:pt x="4645" y="375"/>
                  </a:lnTo>
                  <a:lnTo>
                    <a:pt x="4674" y="379"/>
                  </a:lnTo>
                  <a:lnTo>
                    <a:pt x="4707" y="373"/>
                  </a:lnTo>
                  <a:lnTo>
                    <a:pt x="4726" y="378"/>
                  </a:lnTo>
                  <a:lnTo>
                    <a:pt x="4749" y="396"/>
                  </a:lnTo>
                  <a:lnTo>
                    <a:pt x="4777" y="423"/>
                  </a:lnTo>
                  <a:lnTo>
                    <a:pt x="4815" y="409"/>
                  </a:lnTo>
                  <a:lnTo>
                    <a:pt x="4813" y="438"/>
                  </a:lnTo>
                  <a:lnTo>
                    <a:pt x="4833" y="444"/>
                  </a:lnTo>
                  <a:lnTo>
                    <a:pt x="4854" y="465"/>
                  </a:lnTo>
                  <a:lnTo>
                    <a:pt x="4848" y="511"/>
                  </a:lnTo>
                  <a:lnTo>
                    <a:pt x="4872" y="517"/>
                  </a:lnTo>
                  <a:lnTo>
                    <a:pt x="4872" y="544"/>
                  </a:lnTo>
                  <a:lnTo>
                    <a:pt x="4896" y="543"/>
                  </a:lnTo>
                  <a:lnTo>
                    <a:pt x="4905" y="523"/>
                  </a:lnTo>
                  <a:lnTo>
                    <a:pt x="4951" y="523"/>
                  </a:lnTo>
                  <a:lnTo>
                    <a:pt x="4969" y="505"/>
                  </a:lnTo>
                  <a:lnTo>
                    <a:pt x="4993" y="505"/>
                  </a:lnTo>
                  <a:lnTo>
                    <a:pt x="5008" y="483"/>
                  </a:lnTo>
                  <a:lnTo>
                    <a:pt x="5013" y="468"/>
                  </a:lnTo>
                  <a:lnTo>
                    <a:pt x="5026" y="454"/>
                  </a:lnTo>
                  <a:lnTo>
                    <a:pt x="5055" y="445"/>
                  </a:lnTo>
                  <a:lnTo>
                    <a:pt x="5067" y="427"/>
                  </a:lnTo>
                  <a:lnTo>
                    <a:pt x="5100" y="397"/>
                  </a:lnTo>
                  <a:lnTo>
                    <a:pt x="5127" y="400"/>
                  </a:lnTo>
                  <a:lnTo>
                    <a:pt x="5143" y="391"/>
                  </a:lnTo>
                  <a:lnTo>
                    <a:pt x="5149" y="424"/>
                  </a:lnTo>
                  <a:lnTo>
                    <a:pt x="5170" y="439"/>
                  </a:lnTo>
                  <a:lnTo>
                    <a:pt x="5178" y="468"/>
                  </a:lnTo>
                  <a:lnTo>
                    <a:pt x="5161" y="486"/>
                  </a:lnTo>
                  <a:lnTo>
                    <a:pt x="5142" y="499"/>
                  </a:lnTo>
                  <a:lnTo>
                    <a:pt x="5157" y="519"/>
                  </a:lnTo>
                  <a:lnTo>
                    <a:pt x="5145" y="535"/>
                  </a:lnTo>
                  <a:lnTo>
                    <a:pt x="5149" y="558"/>
                  </a:lnTo>
                  <a:lnTo>
                    <a:pt x="5164" y="570"/>
                  </a:lnTo>
                  <a:lnTo>
                    <a:pt x="5164" y="591"/>
                  </a:lnTo>
                  <a:lnTo>
                    <a:pt x="5143" y="598"/>
                  </a:lnTo>
                  <a:lnTo>
                    <a:pt x="5157" y="619"/>
                  </a:lnTo>
                  <a:lnTo>
                    <a:pt x="5161" y="640"/>
                  </a:lnTo>
                  <a:lnTo>
                    <a:pt x="5149" y="651"/>
                  </a:lnTo>
                  <a:lnTo>
                    <a:pt x="5157" y="666"/>
                  </a:lnTo>
                  <a:lnTo>
                    <a:pt x="5140" y="672"/>
                  </a:lnTo>
                  <a:lnTo>
                    <a:pt x="5152" y="700"/>
                  </a:lnTo>
                  <a:lnTo>
                    <a:pt x="5134" y="711"/>
                  </a:lnTo>
                  <a:lnTo>
                    <a:pt x="5137" y="781"/>
                  </a:lnTo>
                  <a:lnTo>
                    <a:pt x="5080" y="784"/>
                  </a:lnTo>
                  <a:lnTo>
                    <a:pt x="5028" y="778"/>
                  </a:lnTo>
                  <a:lnTo>
                    <a:pt x="5023" y="807"/>
                  </a:lnTo>
                  <a:lnTo>
                    <a:pt x="5005" y="808"/>
                  </a:lnTo>
                  <a:lnTo>
                    <a:pt x="4998" y="831"/>
                  </a:lnTo>
                  <a:lnTo>
                    <a:pt x="4980" y="840"/>
                  </a:lnTo>
                  <a:lnTo>
                    <a:pt x="4980" y="867"/>
                  </a:lnTo>
                  <a:lnTo>
                    <a:pt x="4996" y="876"/>
                  </a:lnTo>
                  <a:lnTo>
                    <a:pt x="5005" y="894"/>
                  </a:lnTo>
                  <a:lnTo>
                    <a:pt x="5019" y="901"/>
                  </a:lnTo>
                  <a:lnTo>
                    <a:pt x="5017" y="928"/>
                  </a:lnTo>
                  <a:lnTo>
                    <a:pt x="5032" y="945"/>
                  </a:lnTo>
                  <a:lnTo>
                    <a:pt x="5028" y="973"/>
                  </a:lnTo>
                  <a:lnTo>
                    <a:pt x="5043" y="982"/>
                  </a:lnTo>
                  <a:lnTo>
                    <a:pt x="5043" y="997"/>
                  </a:lnTo>
                  <a:lnTo>
                    <a:pt x="5058" y="1015"/>
                  </a:lnTo>
                  <a:lnTo>
                    <a:pt x="5059" y="1044"/>
                  </a:lnTo>
                  <a:lnTo>
                    <a:pt x="5043" y="1063"/>
                  </a:lnTo>
                  <a:lnTo>
                    <a:pt x="5037" y="1081"/>
                  </a:lnTo>
                  <a:lnTo>
                    <a:pt x="5008" y="1098"/>
                  </a:lnTo>
                  <a:lnTo>
                    <a:pt x="5001" y="1126"/>
                  </a:lnTo>
                  <a:lnTo>
                    <a:pt x="4980" y="1105"/>
                  </a:lnTo>
                  <a:lnTo>
                    <a:pt x="4963" y="1086"/>
                  </a:lnTo>
                  <a:lnTo>
                    <a:pt x="4947" y="1089"/>
                  </a:lnTo>
                  <a:lnTo>
                    <a:pt x="4948" y="1144"/>
                  </a:lnTo>
                  <a:lnTo>
                    <a:pt x="4944" y="1164"/>
                  </a:lnTo>
                  <a:lnTo>
                    <a:pt x="4920" y="1165"/>
                  </a:lnTo>
                  <a:lnTo>
                    <a:pt x="4909" y="1177"/>
                  </a:lnTo>
                  <a:lnTo>
                    <a:pt x="4909" y="1207"/>
                  </a:lnTo>
                  <a:lnTo>
                    <a:pt x="4891" y="1222"/>
                  </a:lnTo>
                  <a:lnTo>
                    <a:pt x="4870" y="1218"/>
                  </a:lnTo>
                  <a:lnTo>
                    <a:pt x="4861" y="1237"/>
                  </a:lnTo>
                  <a:lnTo>
                    <a:pt x="4825" y="1234"/>
                  </a:lnTo>
                  <a:lnTo>
                    <a:pt x="4825" y="1260"/>
                  </a:lnTo>
                  <a:lnTo>
                    <a:pt x="4851" y="1269"/>
                  </a:lnTo>
                  <a:lnTo>
                    <a:pt x="4851" y="1306"/>
                  </a:lnTo>
                  <a:lnTo>
                    <a:pt x="4834" y="1305"/>
                  </a:lnTo>
                  <a:lnTo>
                    <a:pt x="4819" y="1320"/>
                  </a:lnTo>
                  <a:lnTo>
                    <a:pt x="4767" y="1318"/>
                  </a:lnTo>
                  <a:lnTo>
                    <a:pt x="4758" y="1303"/>
                  </a:lnTo>
                  <a:lnTo>
                    <a:pt x="4731" y="1287"/>
                  </a:lnTo>
                  <a:lnTo>
                    <a:pt x="4720" y="1303"/>
                  </a:lnTo>
                  <a:lnTo>
                    <a:pt x="4704" y="1306"/>
                  </a:lnTo>
                  <a:lnTo>
                    <a:pt x="4708" y="1353"/>
                  </a:lnTo>
                  <a:lnTo>
                    <a:pt x="4695" y="1356"/>
                  </a:lnTo>
                  <a:lnTo>
                    <a:pt x="4681" y="1366"/>
                  </a:lnTo>
                  <a:lnTo>
                    <a:pt x="4686" y="1396"/>
                  </a:lnTo>
                  <a:lnTo>
                    <a:pt x="4669" y="1398"/>
                  </a:lnTo>
                  <a:lnTo>
                    <a:pt x="4669" y="1422"/>
                  </a:lnTo>
                  <a:lnTo>
                    <a:pt x="4642" y="1423"/>
                  </a:lnTo>
                  <a:lnTo>
                    <a:pt x="4638" y="1446"/>
                  </a:lnTo>
                  <a:lnTo>
                    <a:pt x="4615" y="1447"/>
                  </a:lnTo>
                  <a:lnTo>
                    <a:pt x="4603" y="1471"/>
                  </a:lnTo>
                  <a:lnTo>
                    <a:pt x="4573" y="1491"/>
                  </a:lnTo>
                  <a:lnTo>
                    <a:pt x="4551" y="1521"/>
                  </a:lnTo>
                  <a:lnTo>
                    <a:pt x="4545" y="1555"/>
                  </a:lnTo>
                  <a:lnTo>
                    <a:pt x="4519" y="1564"/>
                  </a:lnTo>
                  <a:lnTo>
                    <a:pt x="4509" y="1575"/>
                  </a:lnTo>
                  <a:lnTo>
                    <a:pt x="4473" y="1573"/>
                  </a:lnTo>
                  <a:lnTo>
                    <a:pt x="4443" y="1593"/>
                  </a:lnTo>
                  <a:lnTo>
                    <a:pt x="4417" y="1612"/>
                  </a:lnTo>
                  <a:lnTo>
                    <a:pt x="4389" y="1636"/>
                  </a:lnTo>
                  <a:lnTo>
                    <a:pt x="4377" y="1669"/>
                  </a:lnTo>
                  <a:lnTo>
                    <a:pt x="4365" y="1668"/>
                  </a:lnTo>
                  <a:lnTo>
                    <a:pt x="4366" y="1690"/>
                  </a:lnTo>
                  <a:lnTo>
                    <a:pt x="4348" y="1693"/>
                  </a:lnTo>
                  <a:lnTo>
                    <a:pt x="4339" y="1708"/>
                  </a:lnTo>
                  <a:lnTo>
                    <a:pt x="4336" y="1726"/>
                  </a:lnTo>
                  <a:lnTo>
                    <a:pt x="4320" y="1725"/>
                  </a:lnTo>
                  <a:lnTo>
                    <a:pt x="4311" y="1738"/>
                  </a:lnTo>
                  <a:lnTo>
                    <a:pt x="4284" y="1741"/>
                  </a:lnTo>
                  <a:lnTo>
                    <a:pt x="4284" y="1716"/>
                  </a:lnTo>
                  <a:lnTo>
                    <a:pt x="4306" y="1705"/>
                  </a:lnTo>
                  <a:lnTo>
                    <a:pt x="4324" y="1696"/>
                  </a:lnTo>
                  <a:lnTo>
                    <a:pt x="4323" y="1678"/>
                  </a:lnTo>
                  <a:lnTo>
                    <a:pt x="4336" y="1671"/>
                  </a:lnTo>
                  <a:lnTo>
                    <a:pt x="4333" y="1653"/>
                  </a:lnTo>
                  <a:lnTo>
                    <a:pt x="4311" y="1654"/>
                  </a:lnTo>
                  <a:lnTo>
                    <a:pt x="4282" y="1648"/>
                  </a:lnTo>
                  <a:lnTo>
                    <a:pt x="4308" y="1620"/>
                  </a:lnTo>
                  <a:lnTo>
                    <a:pt x="4329" y="1587"/>
                  </a:lnTo>
                  <a:lnTo>
                    <a:pt x="4347" y="1555"/>
                  </a:lnTo>
                  <a:lnTo>
                    <a:pt x="4350" y="1521"/>
                  </a:lnTo>
                  <a:lnTo>
                    <a:pt x="4335" y="1500"/>
                  </a:lnTo>
                  <a:lnTo>
                    <a:pt x="4312" y="1485"/>
                  </a:lnTo>
                  <a:lnTo>
                    <a:pt x="4294" y="1477"/>
                  </a:lnTo>
                  <a:lnTo>
                    <a:pt x="4290" y="1489"/>
                  </a:lnTo>
                  <a:lnTo>
                    <a:pt x="4272" y="1492"/>
                  </a:lnTo>
                  <a:lnTo>
                    <a:pt x="4263" y="1506"/>
                  </a:lnTo>
                  <a:lnTo>
                    <a:pt x="4239" y="1504"/>
                  </a:lnTo>
                  <a:lnTo>
                    <a:pt x="4231" y="1524"/>
                  </a:lnTo>
                  <a:lnTo>
                    <a:pt x="4216" y="1534"/>
                  </a:lnTo>
                  <a:lnTo>
                    <a:pt x="4216" y="1560"/>
                  </a:lnTo>
                  <a:lnTo>
                    <a:pt x="4201" y="1560"/>
                  </a:lnTo>
                  <a:lnTo>
                    <a:pt x="4203" y="1579"/>
                  </a:lnTo>
                  <a:lnTo>
                    <a:pt x="4188" y="1575"/>
                  </a:lnTo>
                  <a:lnTo>
                    <a:pt x="4192" y="1596"/>
                  </a:lnTo>
                  <a:lnTo>
                    <a:pt x="4176" y="1596"/>
                  </a:lnTo>
                  <a:lnTo>
                    <a:pt x="4161" y="1609"/>
                  </a:lnTo>
                  <a:lnTo>
                    <a:pt x="4134" y="1620"/>
                  </a:lnTo>
                  <a:lnTo>
                    <a:pt x="4119" y="1636"/>
                  </a:lnTo>
                  <a:lnTo>
                    <a:pt x="4096" y="1656"/>
                  </a:lnTo>
                  <a:lnTo>
                    <a:pt x="4084" y="1675"/>
                  </a:lnTo>
                  <a:lnTo>
                    <a:pt x="4090" y="1707"/>
                  </a:lnTo>
                  <a:lnTo>
                    <a:pt x="4086" y="1726"/>
                  </a:lnTo>
                  <a:lnTo>
                    <a:pt x="4060" y="1723"/>
                  </a:lnTo>
                  <a:lnTo>
                    <a:pt x="4047" y="1717"/>
                  </a:lnTo>
                  <a:lnTo>
                    <a:pt x="4047" y="1737"/>
                  </a:lnTo>
                  <a:lnTo>
                    <a:pt x="4029" y="1740"/>
                  </a:lnTo>
                  <a:lnTo>
                    <a:pt x="4020" y="1723"/>
                  </a:lnTo>
                  <a:lnTo>
                    <a:pt x="4002" y="1723"/>
                  </a:lnTo>
                  <a:lnTo>
                    <a:pt x="3993" y="1738"/>
                  </a:lnTo>
                  <a:lnTo>
                    <a:pt x="3981" y="1734"/>
                  </a:lnTo>
                  <a:lnTo>
                    <a:pt x="3976" y="1750"/>
                  </a:lnTo>
                  <a:lnTo>
                    <a:pt x="3969" y="1762"/>
                  </a:lnTo>
                  <a:lnTo>
                    <a:pt x="3976" y="1776"/>
                  </a:lnTo>
                  <a:lnTo>
                    <a:pt x="3973" y="1795"/>
                  </a:lnTo>
                  <a:lnTo>
                    <a:pt x="3975" y="1815"/>
                  </a:lnTo>
                  <a:lnTo>
                    <a:pt x="3982" y="1833"/>
                  </a:lnTo>
                  <a:lnTo>
                    <a:pt x="3997" y="1833"/>
                  </a:lnTo>
                  <a:lnTo>
                    <a:pt x="4008" y="1845"/>
                  </a:lnTo>
                  <a:lnTo>
                    <a:pt x="4021" y="1866"/>
                  </a:lnTo>
                  <a:lnTo>
                    <a:pt x="4038" y="1867"/>
                  </a:lnTo>
                  <a:lnTo>
                    <a:pt x="4048" y="1852"/>
                  </a:lnTo>
                  <a:lnTo>
                    <a:pt x="4069" y="1857"/>
                  </a:lnTo>
                  <a:lnTo>
                    <a:pt x="4068" y="1870"/>
                  </a:lnTo>
                  <a:lnTo>
                    <a:pt x="4107" y="1863"/>
                  </a:lnTo>
                  <a:lnTo>
                    <a:pt x="4104" y="1887"/>
                  </a:lnTo>
                  <a:lnTo>
                    <a:pt x="4120" y="1885"/>
                  </a:lnTo>
                  <a:lnTo>
                    <a:pt x="4123" y="1912"/>
                  </a:lnTo>
                  <a:lnTo>
                    <a:pt x="4117" y="1935"/>
                  </a:lnTo>
                  <a:lnTo>
                    <a:pt x="4137" y="1945"/>
                  </a:lnTo>
                  <a:lnTo>
                    <a:pt x="4161" y="1938"/>
                  </a:lnTo>
                  <a:lnTo>
                    <a:pt x="4173" y="1953"/>
                  </a:lnTo>
                  <a:lnTo>
                    <a:pt x="4191" y="1951"/>
                  </a:lnTo>
                  <a:lnTo>
                    <a:pt x="4203" y="1936"/>
                  </a:lnTo>
                  <a:lnTo>
                    <a:pt x="4221" y="1930"/>
                  </a:lnTo>
                  <a:lnTo>
                    <a:pt x="4213" y="1908"/>
                  </a:lnTo>
                  <a:lnTo>
                    <a:pt x="4224" y="1896"/>
                  </a:lnTo>
                  <a:lnTo>
                    <a:pt x="4239" y="1887"/>
                  </a:lnTo>
                  <a:lnTo>
                    <a:pt x="4237" y="1867"/>
                  </a:lnTo>
                  <a:lnTo>
                    <a:pt x="4251" y="1852"/>
                  </a:lnTo>
                  <a:lnTo>
                    <a:pt x="4264" y="1855"/>
                  </a:lnTo>
                  <a:lnTo>
                    <a:pt x="4287" y="1839"/>
                  </a:lnTo>
                  <a:lnTo>
                    <a:pt x="4309" y="1846"/>
                  </a:lnTo>
                  <a:lnTo>
                    <a:pt x="4318" y="1870"/>
                  </a:lnTo>
                  <a:lnTo>
                    <a:pt x="4336" y="1864"/>
                  </a:lnTo>
                  <a:lnTo>
                    <a:pt x="4351" y="1882"/>
                  </a:lnTo>
                  <a:lnTo>
                    <a:pt x="4363" y="1867"/>
                  </a:lnTo>
                  <a:lnTo>
                    <a:pt x="4396" y="1867"/>
                  </a:lnTo>
                  <a:lnTo>
                    <a:pt x="4404" y="1849"/>
                  </a:lnTo>
                  <a:lnTo>
                    <a:pt x="4428" y="1861"/>
                  </a:lnTo>
                  <a:lnTo>
                    <a:pt x="4455" y="1860"/>
                  </a:lnTo>
                  <a:lnTo>
                    <a:pt x="4453" y="1887"/>
                  </a:lnTo>
                  <a:lnTo>
                    <a:pt x="4443" y="1894"/>
                  </a:lnTo>
                  <a:lnTo>
                    <a:pt x="4443" y="1923"/>
                  </a:lnTo>
                  <a:lnTo>
                    <a:pt x="4423" y="1917"/>
                  </a:lnTo>
                  <a:lnTo>
                    <a:pt x="4407" y="1918"/>
                  </a:lnTo>
                  <a:lnTo>
                    <a:pt x="4396" y="1939"/>
                  </a:lnTo>
                  <a:lnTo>
                    <a:pt x="4375" y="1942"/>
                  </a:lnTo>
                  <a:lnTo>
                    <a:pt x="4368" y="1956"/>
                  </a:lnTo>
                  <a:lnTo>
                    <a:pt x="4351" y="1954"/>
                  </a:lnTo>
                  <a:lnTo>
                    <a:pt x="4348" y="1969"/>
                  </a:lnTo>
                  <a:lnTo>
                    <a:pt x="4332" y="1969"/>
                  </a:lnTo>
                  <a:lnTo>
                    <a:pt x="4323" y="1987"/>
                  </a:lnTo>
                  <a:lnTo>
                    <a:pt x="4296" y="1981"/>
                  </a:lnTo>
                  <a:lnTo>
                    <a:pt x="4299" y="2034"/>
                  </a:lnTo>
                  <a:lnTo>
                    <a:pt x="4288" y="2047"/>
                  </a:lnTo>
                  <a:lnTo>
                    <a:pt x="4258" y="2029"/>
                  </a:lnTo>
                  <a:lnTo>
                    <a:pt x="4263" y="2071"/>
                  </a:lnTo>
                  <a:lnTo>
                    <a:pt x="4257" y="2094"/>
                  </a:lnTo>
                  <a:lnTo>
                    <a:pt x="4236" y="2094"/>
                  </a:lnTo>
                  <a:lnTo>
                    <a:pt x="4239" y="2115"/>
                  </a:lnTo>
                  <a:lnTo>
                    <a:pt x="4218" y="2118"/>
                  </a:lnTo>
                  <a:lnTo>
                    <a:pt x="4219" y="2145"/>
                  </a:lnTo>
                  <a:lnTo>
                    <a:pt x="4203" y="2149"/>
                  </a:lnTo>
                  <a:lnTo>
                    <a:pt x="4194" y="2169"/>
                  </a:lnTo>
                  <a:lnTo>
                    <a:pt x="4197" y="2203"/>
                  </a:lnTo>
                  <a:lnTo>
                    <a:pt x="4215" y="2205"/>
                  </a:lnTo>
                  <a:lnTo>
                    <a:pt x="4228" y="2229"/>
                  </a:lnTo>
                  <a:lnTo>
                    <a:pt x="4258" y="2229"/>
                  </a:lnTo>
                  <a:lnTo>
                    <a:pt x="4279" y="2226"/>
                  </a:lnTo>
                  <a:lnTo>
                    <a:pt x="4281" y="2242"/>
                  </a:lnTo>
                  <a:lnTo>
                    <a:pt x="4308" y="2241"/>
                  </a:lnTo>
                  <a:lnTo>
                    <a:pt x="4324" y="2260"/>
                  </a:lnTo>
                  <a:lnTo>
                    <a:pt x="4323" y="2290"/>
                  </a:lnTo>
                  <a:lnTo>
                    <a:pt x="4354" y="2323"/>
                  </a:lnTo>
                  <a:lnTo>
                    <a:pt x="4368" y="2350"/>
                  </a:lnTo>
                  <a:lnTo>
                    <a:pt x="4389" y="2379"/>
                  </a:lnTo>
                  <a:lnTo>
                    <a:pt x="4395" y="2398"/>
                  </a:lnTo>
                  <a:lnTo>
                    <a:pt x="4389" y="2416"/>
                  </a:lnTo>
                  <a:lnTo>
                    <a:pt x="4407" y="2415"/>
                  </a:lnTo>
                  <a:lnTo>
                    <a:pt x="4404" y="2430"/>
                  </a:lnTo>
                  <a:lnTo>
                    <a:pt x="4438" y="2424"/>
                  </a:lnTo>
                  <a:lnTo>
                    <a:pt x="4444" y="2437"/>
                  </a:lnTo>
                  <a:lnTo>
                    <a:pt x="4455" y="2446"/>
                  </a:lnTo>
                  <a:lnTo>
                    <a:pt x="4453" y="2461"/>
                  </a:lnTo>
                  <a:lnTo>
                    <a:pt x="4470" y="2472"/>
                  </a:lnTo>
                  <a:lnTo>
                    <a:pt x="4497" y="2472"/>
                  </a:lnTo>
                  <a:lnTo>
                    <a:pt x="4507" y="2479"/>
                  </a:lnTo>
                  <a:lnTo>
                    <a:pt x="4506" y="2499"/>
                  </a:lnTo>
                  <a:lnTo>
                    <a:pt x="4482" y="2494"/>
                  </a:lnTo>
                  <a:lnTo>
                    <a:pt x="4467" y="2502"/>
                  </a:lnTo>
                  <a:lnTo>
                    <a:pt x="4431" y="2505"/>
                  </a:lnTo>
                  <a:lnTo>
                    <a:pt x="4410" y="2493"/>
                  </a:lnTo>
                  <a:lnTo>
                    <a:pt x="4380" y="2494"/>
                  </a:lnTo>
                  <a:lnTo>
                    <a:pt x="4404" y="2517"/>
                  </a:lnTo>
                  <a:lnTo>
                    <a:pt x="4440" y="2518"/>
                  </a:lnTo>
                  <a:lnTo>
                    <a:pt x="4458" y="2524"/>
                  </a:lnTo>
                  <a:lnTo>
                    <a:pt x="4467" y="2538"/>
                  </a:lnTo>
                  <a:lnTo>
                    <a:pt x="4491" y="2554"/>
                  </a:lnTo>
                  <a:lnTo>
                    <a:pt x="4518" y="2560"/>
                  </a:lnTo>
                  <a:lnTo>
                    <a:pt x="4533" y="2572"/>
                  </a:lnTo>
                  <a:lnTo>
                    <a:pt x="4525" y="2601"/>
                  </a:lnTo>
                  <a:lnTo>
                    <a:pt x="4504" y="2596"/>
                  </a:lnTo>
                  <a:lnTo>
                    <a:pt x="4504" y="2619"/>
                  </a:lnTo>
                  <a:lnTo>
                    <a:pt x="4479" y="2625"/>
                  </a:lnTo>
                  <a:lnTo>
                    <a:pt x="4473" y="2643"/>
                  </a:lnTo>
                  <a:lnTo>
                    <a:pt x="4455" y="2653"/>
                  </a:lnTo>
                  <a:lnTo>
                    <a:pt x="4440" y="2679"/>
                  </a:lnTo>
                  <a:lnTo>
                    <a:pt x="4407" y="2679"/>
                  </a:lnTo>
                  <a:lnTo>
                    <a:pt x="4387" y="2692"/>
                  </a:lnTo>
                  <a:lnTo>
                    <a:pt x="4413" y="2695"/>
                  </a:lnTo>
                  <a:lnTo>
                    <a:pt x="4420" y="2707"/>
                  </a:lnTo>
                  <a:lnTo>
                    <a:pt x="4449" y="2701"/>
                  </a:lnTo>
                  <a:lnTo>
                    <a:pt x="4468" y="2691"/>
                  </a:lnTo>
                  <a:lnTo>
                    <a:pt x="4482" y="2676"/>
                  </a:lnTo>
                  <a:lnTo>
                    <a:pt x="4512" y="2688"/>
                  </a:lnTo>
                  <a:lnTo>
                    <a:pt x="4510" y="2710"/>
                  </a:lnTo>
                  <a:lnTo>
                    <a:pt x="4531" y="2704"/>
                  </a:lnTo>
                  <a:lnTo>
                    <a:pt x="4548" y="2707"/>
                  </a:lnTo>
                  <a:lnTo>
                    <a:pt x="4561" y="2718"/>
                  </a:lnTo>
                  <a:lnTo>
                    <a:pt x="4557" y="2737"/>
                  </a:lnTo>
                  <a:lnTo>
                    <a:pt x="4530" y="2754"/>
                  </a:lnTo>
                  <a:lnTo>
                    <a:pt x="4522" y="2770"/>
                  </a:lnTo>
                  <a:lnTo>
                    <a:pt x="4561" y="2752"/>
                  </a:lnTo>
                  <a:lnTo>
                    <a:pt x="4579" y="2758"/>
                  </a:lnTo>
                  <a:lnTo>
                    <a:pt x="4567" y="2782"/>
                  </a:lnTo>
                  <a:lnTo>
                    <a:pt x="4542" y="2802"/>
                  </a:lnTo>
                  <a:lnTo>
                    <a:pt x="4552" y="2817"/>
                  </a:lnTo>
                  <a:lnTo>
                    <a:pt x="4552" y="2854"/>
                  </a:lnTo>
                  <a:lnTo>
                    <a:pt x="4533" y="2860"/>
                  </a:lnTo>
                  <a:lnTo>
                    <a:pt x="4560" y="2878"/>
                  </a:lnTo>
                  <a:lnTo>
                    <a:pt x="4567" y="2892"/>
                  </a:lnTo>
                  <a:lnTo>
                    <a:pt x="4549" y="2902"/>
                  </a:lnTo>
                  <a:lnTo>
                    <a:pt x="4543" y="2917"/>
                  </a:lnTo>
                  <a:lnTo>
                    <a:pt x="4525" y="2917"/>
                  </a:lnTo>
                  <a:lnTo>
                    <a:pt x="4515" y="2887"/>
                  </a:lnTo>
                  <a:lnTo>
                    <a:pt x="4512" y="2905"/>
                  </a:lnTo>
                  <a:lnTo>
                    <a:pt x="4500" y="2899"/>
                  </a:lnTo>
                  <a:lnTo>
                    <a:pt x="4504" y="2934"/>
                  </a:lnTo>
                  <a:lnTo>
                    <a:pt x="4488" y="2929"/>
                  </a:lnTo>
                  <a:lnTo>
                    <a:pt x="4495" y="2949"/>
                  </a:lnTo>
                  <a:lnTo>
                    <a:pt x="4494" y="2974"/>
                  </a:lnTo>
                  <a:lnTo>
                    <a:pt x="4480" y="2980"/>
                  </a:lnTo>
                  <a:lnTo>
                    <a:pt x="4482" y="3019"/>
                  </a:lnTo>
                  <a:lnTo>
                    <a:pt x="4453" y="3016"/>
                  </a:lnTo>
                  <a:lnTo>
                    <a:pt x="4434" y="3021"/>
                  </a:lnTo>
                  <a:lnTo>
                    <a:pt x="4443" y="3040"/>
                  </a:lnTo>
                  <a:lnTo>
                    <a:pt x="4456" y="3045"/>
                  </a:lnTo>
                  <a:lnTo>
                    <a:pt x="4455" y="3066"/>
                  </a:lnTo>
                  <a:lnTo>
                    <a:pt x="4429" y="3079"/>
                  </a:lnTo>
                  <a:lnTo>
                    <a:pt x="4422" y="3108"/>
                  </a:lnTo>
                  <a:lnTo>
                    <a:pt x="4407" y="3102"/>
                  </a:lnTo>
                  <a:lnTo>
                    <a:pt x="4393" y="3108"/>
                  </a:lnTo>
                  <a:lnTo>
                    <a:pt x="4380" y="3114"/>
                  </a:lnTo>
                  <a:lnTo>
                    <a:pt x="4390" y="3127"/>
                  </a:lnTo>
                  <a:lnTo>
                    <a:pt x="4390" y="3148"/>
                  </a:lnTo>
                  <a:lnTo>
                    <a:pt x="4408" y="3151"/>
                  </a:lnTo>
                  <a:lnTo>
                    <a:pt x="4407" y="3171"/>
                  </a:lnTo>
                  <a:lnTo>
                    <a:pt x="4389" y="3181"/>
                  </a:lnTo>
                  <a:lnTo>
                    <a:pt x="4404" y="3190"/>
                  </a:lnTo>
                  <a:lnTo>
                    <a:pt x="4407" y="3220"/>
                  </a:lnTo>
                  <a:lnTo>
                    <a:pt x="4390" y="3226"/>
                  </a:lnTo>
                  <a:lnTo>
                    <a:pt x="4408" y="3237"/>
                  </a:lnTo>
                  <a:lnTo>
                    <a:pt x="4410" y="3252"/>
                  </a:lnTo>
                  <a:lnTo>
                    <a:pt x="4405" y="3264"/>
                  </a:lnTo>
                  <a:lnTo>
                    <a:pt x="4387" y="3249"/>
                  </a:lnTo>
                  <a:lnTo>
                    <a:pt x="4366" y="3246"/>
                  </a:lnTo>
                  <a:lnTo>
                    <a:pt x="4371" y="3280"/>
                  </a:lnTo>
                  <a:lnTo>
                    <a:pt x="4368" y="3297"/>
                  </a:lnTo>
                  <a:lnTo>
                    <a:pt x="4345" y="3295"/>
                  </a:lnTo>
                  <a:lnTo>
                    <a:pt x="4345" y="3313"/>
                  </a:lnTo>
                  <a:lnTo>
                    <a:pt x="4348" y="3330"/>
                  </a:lnTo>
                  <a:lnTo>
                    <a:pt x="4321" y="3328"/>
                  </a:lnTo>
                  <a:lnTo>
                    <a:pt x="4329" y="3343"/>
                  </a:lnTo>
                  <a:lnTo>
                    <a:pt x="4327" y="3360"/>
                  </a:lnTo>
                  <a:lnTo>
                    <a:pt x="4317" y="3373"/>
                  </a:lnTo>
                  <a:lnTo>
                    <a:pt x="4291" y="3370"/>
                  </a:lnTo>
                  <a:lnTo>
                    <a:pt x="4273" y="3379"/>
                  </a:lnTo>
                  <a:lnTo>
                    <a:pt x="4261" y="3388"/>
                  </a:lnTo>
                  <a:lnTo>
                    <a:pt x="4258" y="3405"/>
                  </a:lnTo>
                  <a:lnTo>
                    <a:pt x="4273" y="3411"/>
                  </a:lnTo>
                  <a:lnTo>
                    <a:pt x="4273" y="3427"/>
                  </a:lnTo>
                  <a:lnTo>
                    <a:pt x="4261" y="3430"/>
                  </a:lnTo>
                  <a:lnTo>
                    <a:pt x="4257" y="3448"/>
                  </a:lnTo>
                  <a:lnTo>
                    <a:pt x="4236" y="3447"/>
                  </a:lnTo>
                  <a:lnTo>
                    <a:pt x="4240" y="3474"/>
                  </a:lnTo>
                  <a:lnTo>
                    <a:pt x="4227" y="3480"/>
                  </a:lnTo>
                  <a:lnTo>
                    <a:pt x="4213" y="3496"/>
                  </a:lnTo>
                  <a:lnTo>
                    <a:pt x="4179" y="3492"/>
                  </a:lnTo>
                  <a:lnTo>
                    <a:pt x="4183" y="3526"/>
                  </a:lnTo>
                  <a:lnTo>
                    <a:pt x="4171" y="3538"/>
                  </a:lnTo>
                  <a:lnTo>
                    <a:pt x="4152" y="3537"/>
                  </a:lnTo>
                  <a:lnTo>
                    <a:pt x="4153" y="3555"/>
                  </a:lnTo>
                  <a:lnTo>
                    <a:pt x="4144" y="3562"/>
                  </a:lnTo>
                  <a:lnTo>
                    <a:pt x="4128" y="3559"/>
                  </a:lnTo>
                  <a:lnTo>
                    <a:pt x="4131" y="3588"/>
                  </a:lnTo>
                  <a:lnTo>
                    <a:pt x="4102" y="3583"/>
                  </a:lnTo>
                  <a:lnTo>
                    <a:pt x="4099" y="3595"/>
                  </a:lnTo>
                  <a:lnTo>
                    <a:pt x="4093" y="3613"/>
                  </a:lnTo>
                  <a:lnTo>
                    <a:pt x="4077" y="3613"/>
                  </a:lnTo>
                  <a:lnTo>
                    <a:pt x="4053" y="3618"/>
                  </a:lnTo>
                  <a:lnTo>
                    <a:pt x="4032" y="3598"/>
                  </a:lnTo>
                  <a:lnTo>
                    <a:pt x="4035" y="3624"/>
                  </a:lnTo>
                  <a:lnTo>
                    <a:pt x="4018" y="3637"/>
                  </a:lnTo>
                  <a:lnTo>
                    <a:pt x="4000" y="3627"/>
                  </a:lnTo>
                  <a:lnTo>
                    <a:pt x="3984" y="3619"/>
                  </a:lnTo>
                  <a:lnTo>
                    <a:pt x="3951" y="3625"/>
                  </a:lnTo>
                  <a:lnTo>
                    <a:pt x="3933" y="3621"/>
                  </a:lnTo>
                  <a:lnTo>
                    <a:pt x="3921" y="3634"/>
                  </a:lnTo>
                  <a:lnTo>
                    <a:pt x="3913" y="3651"/>
                  </a:lnTo>
                  <a:lnTo>
                    <a:pt x="3901" y="3651"/>
                  </a:lnTo>
                  <a:lnTo>
                    <a:pt x="3885" y="3666"/>
                  </a:lnTo>
                  <a:lnTo>
                    <a:pt x="3849" y="3678"/>
                  </a:lnTo>
                  <a:lnTo>
                    <a:pt x="3837" y="3666"/>
                  </a:lnTo>
                  <a:lnTo>
                    <a:pt x="3837" y="3646"/>
                  </a:lnTo>
                  <a:lnTo>
                    <a:pt x="3817" y="3642"/>
                  </a:lnTo>
                  <a:lnTo>
                    <a:pt x="3793" y="3639"/>
                  </a:lnTo>
                  <a:lnTo>
                    <a:pt x="3793" y="3645"/>
                  </a:lnTo>
                  <a:lnTo>
                    <a:pt x="3805" y="3663"/>
                  </a:lnTo>
                  <a:lnTo>
                    <a:pt x="3807" y="3691"/>
                  </a:lnTo>
                  <a:lnTo>
                    <a:pt x="3787" y="3702"/>
                  </a:lnTo>
                  <a:lnTo>
                    <a:pt x="3783" y="3717"/>
                  </a:lnTo>
                  <a:lnTo>
                    <a:pt x="3771" y="3723"/>
                  </a:lnTo>
                  <a:lnTo>
                    <a:pt x="3768" y="3747"/>
                  </a:lnTo>
                  <a:lnTo>
                    <a:pt x="3750" y="3747"/>
                  </a:lnTo>
                  <a:lnTo>
                    <a:pt x="3738" y="3762"/>
                  </a:lnTo>
                  <a:lnTo>
                    <a:pt x="3717" y="3771"/>
                  </a:lnTo>
                  <a:lnTo>
                    <a:pt x="3700" y="3775"/>
                  </a:lnTo>
                  <a:lnTo>
                    <a:pt x="3648" y="3769"/>
                  </a:lnTo>
                  <a:lnTo>
                    <a:pt x="3643" y="3795"/>
                  </a:lnTo>
                  <a:lnTo>
                    <a:pt x="3616" y="3789"/>
                  </a:lnTo>
                  <a:lnTo>
                    <a:pt x="3612" y="3811"/>
                  </a:lnTo>
                  <a:lnTo>
                    <a:pt x="3582" y="3807"/>
                  </a:lnTo>
                  <a:lnTo>
                    <a:pt x="3577" y="3826"/>
                  </a:lnTo>
                  <a:lnTo>
                    <a:pt x="3543" y="3822"/>
                  </a:lnTo>
                  <a:lnTo>
                    <a:pt x="3520" y="3838"/>
                  </a:lnTo>
                  <a:lnTo>
                    <a:pt x="3508" y="3856"/>
                  </a:lnTo>
                  <a:lnTo>
                    <a:pt x="3483" y="3880"/>
                  </a:lnTo>
                  <a:lnTo>
                    <a:pt x="3474" y="3871"/>
                  </a:lnTo>
                  <a:lnTo>
                    <a:pt x="3460" y="3879"/>
                  </a:lnTo>
                  <a:lnTo>
                    <a:pt x="3459" y="3894"/>
                  </a:lnTo>
                  <a:lnTo>
                    <a:pt x="3453" y="3903"/>
                  </a:lnTo>
                  <a:lnTo>
                    <a:pt x="3471" y="3907"/>
                  </a:lnTo>
                  <a:lnTo>
                    <a:pt x="3486" y="3925"/>
                  </a:lnTo>
                  <a:lnTo>
                    <a:pt x="3489" y="3952"/>
                  </a:lnTo>
                  <a:lnTo>
                    <a:pt x="3481" y="3972"/>
                  </a:lnTo>
                  <a:lnTo>
                    <a:pt x="3445" y="3973"/>
                  </a:lnTo>
                  <a:lnTo>
                    <a:pt x="3438" y="3954"/>
                  </a:lnTo>
                  <a:lnTo>
                    <a:pt x="3421" y="3942"/>
                  </a:lnTo>
                  <a:lnTo>
                    <a:pt x="3417" y="3921"/>
                  </a:lnTo>
                  <a:lnTo>
                    <a:pt x="3399" y="3921"/>
                  </a:lnTo>
                  <a:lnTo>
                    <a:pt x="3399" y="3879"/>
                  </a:lnTo>
                  <a:lnTo>
                    <a:pt x="3402" y="3858"/>
                  </a:lnTo>
                  <a:lnTo>
                    <a:pt x="3421" y="3847"/>
                  </a:lnTo>
                  <a:lnTo>
                    <a:pt x="3417" y="3837"/>
                  </a:lnTo>
                  <a:lnTo>
                    <a:pt x="3399" y="3823"/>
                  </a:lnTo>
                  <a:lnTo>
                    <a:pt x="3381" y="3820"/>
                  </a:lnTo>
                  <a:lnTo>
                    <a:pt x="3370" y="3808"/>
                  </a:lnTo>
                  <a:lnTo>
                    <a:pt x="3372" y="3832"/>
                  </a:lnTo>
                  <a:lnTo>
                    <a:pt x="3358" y="3841"/>
                  </a:lnTo>
                  <a:lnTo>
                    <a:pt x="3331" y="3840"/>
                  </a:lnTo>
                  <a:lnTo>
                    <a:pt x="3325" y="3817"/>
                  </a:lnTo>
                  <a:lnTo>
                    <a:pt x="3288" y="3819"/>
                  </a:lnTo>
                  <a:lnTo>
                    <a:pt x="3271" y="3805"/>
                  </a:lnTo>
                  <a:lnTo>
                    <a:pt x="3265" y="3820"/>
                  </a:lnTo>
                  <a:lnTo>
                    <a:pt x="3238" y="3819"/>
                  </a:lnTo>
                  <a:lnTo>
                    <a:pt x="3234" y="3834"/>
                  </a:lnTo>
                  <a:lnTo>
                    <a:pt x="3220" y="3832"/>
                  </a:lnTo>
                  <a:lnTo>
                    <a:pt x="3207" y="3841"/>
                  </a:lnTo>
                  <a:lnTo>
                    <a:pt x="3198" y="3817"/>
                  </a:lnTo>
                  <a:lnTo>
                    <a:pt x="3180" y="3820"/>
                  </a:lnTo>
                  <a:lnTo>
                    <a:pt x="3157" y="3850"/>
                  </a:lnTo>
                  <a:lnTo>
                    <a:pt x="3144" y="3816"/>
                  </a:lnTo>
                  <a:lnTo>
                    <a:pt x="3117" y="3817"/>
                  </a:lnTo>
                  <a:lnTo>
                    <a:pt x="3100" y="3814"/>
                  </a:lnTo>
                  <a:lnTo>
                    <a:pt x="3103" y="3795"/>
                  </a:lnTo>
                  <a:lnTo>
                    <a:pt x="3087" y="3787"/>
                  </a:lnTo>
                  <a:lnTo>
                    <a:pt x="3060" y="3792"/>
                  </a:lnTo>
                  <a:lnTo>
                    <a:pt x="3064" y="3762"/>
                  </a:lnTo>
                  <a:lnTo>
                    <a:pt x="3048" y="3748"/>
                  </a:lnTo>
                  <a:lnTo>
                    <a:pt x="3051" y="3729"/>
                  </a:lnTo>
                  <a:lnTo>
                    <a:pt x="3070" y="3721"/>
                  </a:lnTo>
                  <a:lnTo>
                    <a:pt x="3070" y="3708"/>
                  </a:lnTo>
                  <a:lnTo>
                    <a:pt x="3066" y="3691"/>
                  </a:lnTo>
                  <a:lnTo>
                    <a:pt x="3055" y="3687"/>
                  </a:lnTo>
                  <a:lnTo>
                    <a:pt x="3039" y="3688"/>
                  </a:lnTo>
                  <a:lnTo>
                    <a:pt x="3007" y="3693"/>
                  </a:lnTo>
                  <a:lnTo>
                    <a:pt x="3000" y="3679"/>
                  </a:lnTo>
                  <a:lnTo>
                    <a:pt x="2958" y="3685"/>
                  </a:lnTo>
                  <a:lnTo>
                    <a:pt x="2955" y="3664"/>
                  </a:lnTo>
                  <a:lnTo>
                    <a:pt x="2934" y="3667"/>
                  </a:lnTo>
                  <a:lnTo>
                    <a:pt x="2934" y="3646"/>
                  </a:lnTo>
                  <a:lnTo>
                    <a:pt x="2910" y="3646"/>
                  </a:lnTo>
                  <a:lnTo>
                    <a:pt x="2904" y="3634"/>
                  </a:lnTo>
                  <a:lnTo>
                    <a:pt x="2890" y="3636"/>
                  </a:lnTo>
                  <a:lnTo>
                    <a:pt x="2887" y="3654"/>
                  </a:lnTo>
                  <a:lnTo>
                    <a:pt x="2872" y="3655"/>
                  </a:lnTo>
                  <a:lnTo>
                    <a:pt x="2869" y="3669"/>
                  </a:lnTo>
                  <a:lnTo>
                    <a:pt x="2856" y="3670"/>
                  </a:lnTo>
                  <a:lnTo>
                    <a:pt x="2845" y="3685"/>
                  </a:lnTo>
                  <a:lnTo>
                    <a:pt x="2850" y="3705"/>
                  </a:lnTo>
                  <a:lnTo>
                    <a:pt x="2823" y="3702"/>
                  </a:lnTo>
                  <a:lnTo>
                    <a:pt x="2814" y="3715"/>
                  </a:lnTo>
                  <a:lnTo>
                    <a:pt x="2794" y="3717"/>
                  </a:lnTo>
                  <a:lnTo>
                    <a:pt x="2779" y="3702"/>
                  </a:lnTo>
                  <a:lnTo>
                    <a:pt x="2760" y="3726"/>
                  </a:lnTo>
                  <a:lnTo>
                    <a:pt x="2740" y="3729"/>
                  </a:lnTo>
                  <a:lnTo>
                    <a:pt x="2731" y="3715"/>
                  </a:lnTo>
                  <a:lnTo>
                    <a:pt x="2700" y="3720"/>
                  </a:lnTo>
                  <a:lnTo>
                    <a:pt x="2692" y="3700"/>
                  </a:lnTo>
                  <a:lnTo>
                    <a:pt x="2683" y="3717"/>
                  </a:lnTo>
                  <a:lnTo>
                    <a:pt x="2667" y="3723"/>
                  </a:lnTo>
                  <a:lnTo>
                    <a:pt x="2664" y="3751"/>
                  </a:lnTo>
                  <a:lnTo>
                    <a:pt x="2644" y="3754"/>
                  </a:lnTo>
                  <a:lnTo>
                    <a:pt x="2644" y="3729"/>
                  </a:lnTo>
                  <a:lnTo>
                    <a:pt x="2631" y="3730"/>
                  </a:lnTo>
                  <a:lnTo>
                    <a:pt x="2629" y="3714"/>
                  </a:lnTo>
                  <a:lnTo>
                    <a:pt x="2584" y="3711"/>
                  </a:lnTo>
                  <a:lnTo>
                    <a:pt x="2581" y="3741"/>
                  </a:lnTo>
                  <a:lnTo>
                    <a:pt x="2563" y="3748"/>
                  </a:lnTo>
                  <a:lnTo>
                    <a:pt x="2535" y="3753"/>
                  </a:lnTo>
                  <a:lnTo>
                    <a:pt x="2511" y="3742"/>
                  </a:lnTo>
                  <a:lnTo>
                    <a:pt x="2497" y="3756"/>
                  </a:lnTo>
                  <a:lnTo>
                    <a:pt x="2494" y="3786"/>
                  </a:lnTo>
                  <a:lnTo>
                    <a:pt x="2514" y="3805"/>
                  </a:lnTo>
                  <a:lnTo>
                    <a:pt x="2520" y="3831"/>
                  </a:lnTo>
                  <a:lnTo>
                    <a:pt x="2511" y="3847"/>
                  </a:lnTo>
                  <a:lnTo>
                    <a:pt x="2514" y="3883"/>
                  </a:lnTo>
                  <a:lnTo>
                    <a:pt x="2502" y="3892"/>
                  </a:lnTo>
                  <a:lnTo>
                    <a:pt x="2488" y="3877"/>
                  </a:lnTo>
                  <a:lnTo>
                    <a:pt x="2479" y="3892"/>
                  </a:lnTo>
                  <a:lnTo>
                    <a:pt x="2469" y="3868"/>
                  </a:lnTo>
                  <a:lnTo>
                    <a:pt x="2455" y="3870"/>
                  </a:lnTo>
                  <a:lnTo>
                    <a:pt x="2454" y="3841"/>
                  </a:lnTo>
                  <a:lnTo>
                    <a:pt x="2440" y="3816"/>
                  </a:lnTo>
                  <a:lnTo>
                    <a:pt x="2433" y="3831"/>
                  </a:lnTo>
                  <a:lnTo>
                    <a:pt x="2410" y="3831"/>
                  </a:lnTo>
                  <a:lnTo>
                    <a:pt x="2409" y="3847"/>
                  </a:lnTo>
                  <a:lnTo>
                    <a:pt x="2386" y="3861"/>
                  </a:lnTo>
                  <a:lnTo>
                    <a:pt x="2367" y="3847"/>
                  </a:lnTo>
                  <a:lnTo>
                    <a:pt x="2340" y="3861"/>
                  </a:lnTo>
                  <a:lnTo>
                    <a:pt x="2332" y="3834"/>
                  </a:lnTo>
                  <a:lnTo>
                    <a:pt x="2320" y="3840"/>
                  </a:lnTo>
                  <a:lnTo>
                    <a:pt x="2323" y="3799"/>
                  </a:lnTo>
                  <a:lnTo>
                    <a:pt x="2311" y="3786"/>
                  </a:lnTo>
                  <a:lnTo>
                    <a:pt x="2278" y="3778"/>
                  </a:lnTo>
                  <a:lnTo>
                    <a:pt x="2256" y="3781"/>
                  </a:lnTo>
                  <a:lnTo>
                    <a:pt x="2245" y="3769"/>
                  </a:lnTo>
                  <a:lnTo>
                    <a:pt x="2250" y="3744"/>
                  </a:lnTo>
                  <a:lnTo>
                    <a:pt x="2265" y="3738"/>
                  </a:lnTo>
                  <a:lnTo>
                    <a:pt x="2265" y="3721"/>
                  </a:lnTo>
                  <a:lnTo>
                    <a:pt x="2254" y="3703"/>
                  </a:lnTo>
                  <a:lnTo>
                    <a:pt x="2274" y="3696"/>
                  </a:lnTo>
                  <a:lnTo>
                    <a:pt x="2277" y="3675"/>
                  </a:lnTo>
                  <a:lnTo>
                    <a:pt x="2263" y="3667"/>
                  </a:lnTo>
                  <a:lnTo>
                    <a:pt x="2244" y="3670"/>
                  </a:lnTo>
                  <a:lnTo>
                    <a:pt x="2247" y="3654"/>
                  </a:lnTo>
                  <a:lnTo>
                    <a:pt x="2212" y="3657"/>
                  </a:lnTo>
                  <a:lnTo>
                    <a:pt x="2214" y="3625"/>
                  </a:lnTo>
                  <a:lnTo>
                    <a:pt x="2202" y="3619"/>
                  </a:lnTo>
                  <a:lnTo>
                    <a:pt x="2205" y="3598"/>
                  </a:lnTo>
                  <a:lnTo>
                    <a:pt x="2191" y="3592"/>
                  </a:lnTo>
                  <a:lnTo>
                    <a:pt x="2194" y="3571"/>
                  </a:lnTo>
                  <a:lnTo>
                    <a:pt x="2206" y="3553"/>
                  </a:lnTo>
                  <a:lnTo>
                    <a:pt x="2202" y="3541"/>
                  </a:lnTo>
                  <a:lnTo>
                    <a:pt x="2190" y="3552"/>
                  </a:lnTo>
                  <a:lnTo>
                    <a:pt x="2172" y="3547"/>
                  </a:lnTo>
                  <a:lnTo>
                    <a:pt x="2145" y="3535"/>
                  </a:lnTo>
                  <a:lnTo>
                    <a:pt x="2128" y="3541"/>
                  </a:lnTo>
                  <a:lnTo>
                    <a:pt x="2118" y="3555"/>
                  </a:lnTo>
                  <a:lnTo>
                    <a:pt x="2101" y="3555"/>
                  </a:lnTo>
                  <a:lnTo>
                    <a:pt x="2094" y="3568"/>
                  </a:lnTo>
                  <a:lnTo>
                    <a:pt x="2064" y="3568"/>
                  </a:lnTo>
                  <a:lnTo>
                    <a:pt x="2079" y="3552"/>
                  </a:lnTo>
                  <a:lnTo>
                    <a:pt x="2085" y="3529"/>
                  </a:lnTo>
                  <a:lnTo>
                    <a:pt x="2073" y="3522"/>
                  </a:lnTo>
                  <a:lnTo>
                    <a:pt x="2064" y="3505"/>
                  </a:lnTo>
                  <a:lnTo>
                    <a:pt x="2065" y="3477"/>
                  </a:lnTo>
                  <a:lnTo>
                    <a:pt x="2077" y="3475"/>
                  </a:lnTo>
                  <a:lnTo>
                    <a:pt x="2076" y="3459"/>
                  </a:lnTo>
                  <a:lnTo>
                    <a:pt x="2094" y="3462"/>
                  </a:lnTo>
                  <a:lnTo>
                    <a:pt x="2091" y="3423"/>
                  </a:lnTo>
                  <a:lnTo>
                    <a:pt x="2115" y="3414"/>
                  </a:lnTo>
                  <a:lnTo>
                    <a:pt x="2131" y="3394"/>
                  </a:lnTo>
                  <a:lnTo>
                    <a:pt x="2161" y="3381"/>
                  </a:lnTo>
                  <a:lnTo>
                    <a:pt x="2167" y="3360"/>
                  </a:lnTo>
                  <a:lnTo>
                    <a:pt x="2187" y="3360"/>
                  </a:lnTo>
                  <a:lnTo>
                    <a:pt x="2203" y="3358"/>
                  </a:lnTo>
                  <a:lnTo>
                    <a:pt x="2205" y="3343"/>
                  </a:lnTo>
                  <a:lnTo>
                    <a:pt x="2188" y="3336"/>
                  </a:lnTo>
                  <a:lnTo>
                    <a:pt x="2185" y="3304"/>
                  </a:lnTo>
                  <a:lnTo>
                    <a:pt x="2203" y="3301"/>
                  </a:lnTo>
                  <a:lnTo>
                    <a:pt x="2197" y="3274"/>
                  </a:lnTo>
                  <a:lnTo>
                    <a:pt x="2218" y="3261"/>
                  </a:lnTo>
                  <a:lnTo>
                    <a:pt x="2212" y="3243"/>
                  </a:lnTo>
                  <a:lnTo>
                    <a:pt x="2199" y="3219"/>
                  </a:lnTo>
                  <a:lnTo>
                    <a:pt x="2200" y="3189"/>
                  </a:lnTo>
                  <a:lnTo>
                    <a:pt x="2202" y="3159"/>
                  </a:lnTo>
                  <a:lnTo>
                    <a:pt x="2190" y="3142"/>
                  </a:lnTo>
                  <a:lnTo>
                    <a:pt x="2160" y="3150"/>
                  </a:lnTo>
                  <a:lnTo>
                    <a:pt x="2166" y="3135"/>
                  </a:lnTo>
                  <a:lnTo>
                    <a:pt x="2152" y="3123"/>
                  </a:lnTo>
                  <a:lnTo>
                    <a:pt x="2155" y="3103"/>
                  </a:lnTo>
                  <a:lnTo>
                    <a:pt x="2139" y="3100"/>
                  </a:lnTo>
                  <a:lnTo>
                    <a:pt x="2137" y="3079"/>
                  </a:lnTo>
                  <a:lnTo>
                    <a:pt x="2133" y="3052"/>
                  </a:lnTo>
                  <a:lnTo>
                    <a:pt x="2116" y="3055"/>
                  </a:lnTo>
                  <a:lnTo>
                    <a:pt x="2104" y="3049"/>
                  </a:lnTo>
                  <a:lnTo>
                    <a:pt x="2100" y="3030"/>
                  </a:lnTo>
                  <a:lnTo>
                    <a:pt x="2082" y="3028"/>
                  </a:lnTo>
                  <a:lnTo>
                    <a:pt x="2079" y="3054"/>
                  </a:lnTo>
                  <a:lnTo>
                    <a:pt x="2059" y="3066"/>
                  </a:lnTo>
                  <a:lnTo>
                    <a:pt x="2043" y="3049"/>
                  </a:lnTo>
                  <a:lnTo>
                    <a:pt x="2005" y="3055"/>
                  </a:lnTo>
                  <a:lnTo>
                    <a:pt x="1998" y="3028"/>
                  </a:lnTo>
                  <a:lnTo>
                    <a:pt x="1971" y="3036"/>
                  </a:lnTo>
                  <a:lnTo>
                    <a:pt x="1959" y="3019"/>
                  </a:lnTo>
                  <a:lnTo>
                    <a:pt x="1986" y="3004"/>
                  </a:lnTo>
                  <a:lnTo>
                    <a:pt x="1981" y="2964"/>
                  </a:lnTo>
                  <a:lnTo>
                    <a:pt x="1947" y="2974"/>
                  </a:lnTo>
                  <a:lnTo>
                    <a:pt x="1963" y="2958"/>
                  </a:lnTo>
                  <a:lnTo>
                    <a:pt x="1965" y="2940"/>
                  </a:lnTo>
                  <a:lnTo>
                    <a:pt x="1948" y="2941"/>
                  </a:lnTo>
                  <a:lnTo>
                    <a:pt x="1951" y="2922"/>
                  </a:lnTo>
                  <a:lnTo>
                    <a:pt x="1933" y="2920"/>
                  </a:lnTo>
                  <a:lnTo>
                    <a:pt x="1906" y="2923"/>
                  </a:lnTo>
                  <a:lnTo>
                    <a:pt x="1893" y="2944"/>
                  </a:lnTo>
                  <a:lnTo>
                    <a:pt x="1870" y="2959"/>
                  </a:lnTo>
                  <a:lnTo>
                    <a:pt x="1848" y="2959"/>
                  </a:lnTo>
                  <a:lnTo>
                    <a:pt x="1845" y="2943"/>
                  </a:lnTo>
                  <a:lnTo>
                    <a:pt x="1830" y="2943"/>
                  </a:lnTo>
                  <a:lnTo>
                    <a:pt x="1813" y="2952"/>
                  </a:lnTo>
                  <a:lnTo>
                    <a:pt x="1809" y="2928"/>
                  </a:lnTo>
                  <a:lnTo>
                    <a:pt x="1791" y="2923"/>
                  </a:lnTo>
                  <a:lnTo>
                    <a:pt x="1780" y="2934"/>
                  </a:lnTo>
                  <a:lnTo>
                    <a:pt x="1758" y="2934"/>
                  </a:lnTo>
                  <a:lnTo>
                    <a:pt x="1753" y="2944"/>
                  </a:lnTo>
                  <a:lnTo>
                    <a:pt x="1729" y="2944"/>
                  </a:lnTo>
                  <a:lnTo>
                    <a:pt x="1717" y="2977"/>
                  </a:lnTo>
                  <a:lnTo>
                    <a:pt x="1696" y="2986"/>
                  </a:lnTo>
                  <a:lnTo>
                    <a:pt x="1662" y="2982"/>
                  </a:lnTo>
                  <a:lnTo>
                    <a:pt x="1641" y="2992"/>
                  </a:lnTo>
                  <a:lnTo>
                    <a:pt x="1638" y="3021"/>
                  </a:lnTo>
                  <a:lnTo>
                    <a:pt x="1621" y="3016"/>
                  </a:lnTo>
                  <a:lnTo>
                    <a:pt x="1617" y="3034"/>
                  </a:lnTo>
                  <a:lnTo>
                    <a:pt x="1596" y="3043"/>
                  </a:lnTo>
                  <a:lnTo>
                    <a:pt x="1569" y="3037"/>
                  </a:lnTo>
                  <a:lnTo>
                    <a:pt x="1575" y="3058"/>
                  </a:lnTo>
                  <a:lnTo>
                    <a:pt x="1567" y="3070"/>
                  </a:lnTo>
                  <a:lnTo>
                    <a:pt x="1533" y="3066"/>
                  </a:lnTo>
                  <a:lnTo>
                    <a:pt x="1521" y="3081"/>
                  </a:lnTo>
                  <a:lnTo>
                    <a:pt x="1489" y="3079"/>
                  </a:lnTo>
                  <a:lnTo>
                    <a:pt x="1465" y="3073"/>
                  </a:lnTo>
                  <a:lnTo>
                    <a:pt x="1446" y="3046"/>
                  </a:lnTo>
                  <a:lnTo>
                    <a:pt x="1426" y="3018"/>
                  </a:lnTo>
                  <a:lnTo>
                    <a:pt x="1393" y="3013"/>
                  </a:lnTo>
                  <a:lnTo>
                    <a:pt x="1359" y="3019"/>
                  </a:lnTo>
                  <a:lnTo>
                    <a:pt x="1351" y="3001"/>
                  </a:lnTo>
                  <a:lnTo>
                    <a:pt x="1332" y="3009"/>
                  </a:lnTo>
                  <a:lnTo>
                    <a:pt x="1323" y="2994"/>
                  </a:lnTo>
                  <a:lnTo>
                    <a:pt x="1302" y="2988"/>
                  </a:lnTo>
                  <a:lnTo>
                    <a:pt x="1279" y="2992"/>
                  </a:lnTo>
                  <a:lnTo>
                    <a:pt x="1269" y="3009"/>
                  </a:lnTo>
                  <a:lnTo>
                    <a:pt x="1240" y="3009"/>
                  </a:lnTo>
                  <a:lnTo>
                    <a:pt x="1221" y="3031"/>
                  </a:lnTo>
                  <a:lnTo>
                    <a:pt x="1206" y="3054"/>
                  </a:lnTo>
                  <a:lnTo>
                    <a:pt x="1189" y="3073"/>
                  </a:lnTo>
                  <a:lnTo>
                    <a:pt x="1174" y="3078"/>
                  </a:lnTo>
                  <a:lnTo>
                    <a:pt x="1168" y="3057"/>
                  </a:lnTo>
                  <a:lnTo>
                    <a:pt x="1183" y="3036"/>
                  </a:lnTo>
                  <a:lnTo>
                    <a:pt x="1179" y="3007"/>
                  </a:lnTo>
                  <a:lnTo>
                    <a:pt x="1162" y="2997"/>
                  </a:lnTo>
                  <a:lnTo>
                    <a:pt x="1134" y="3009"/>
                  </a:lnTo>
                  <a:lnTo>
                    <a:pt x="1108" y="3003"/>
                  </a:lnTo>
                  <a:lnTo>
                    <a:pt x="1101" y="3021"/>
                  </a:lnTo>
                  <a:lnTo>
                    <a:pt x="1080" y="3021"/>
                  </a:lnTo>
                  <a:lnTo>
                    <a:pt x="1060" y="3022"/>
                  </a:lnTo>
                  <a:lnTo>
                    <a:pt x="1048" y="3004"/>
                  </a:lnTo>
                  <a:lnTo>
                    <a:pt x="1014" y="3009"/>
                  </a:lnTo>
                  <a:lnTo>
                    <a:pt x="1000" y="3018"/>
                  </a:lnTo>
                  <a:lnTo>
                    <a:pt x="997" y="2995"/>
                  </a:lnTo>
                  <a:lnTo>
                    <a:pt x="973" y="2995"/>
                  </a:lnTo>
                  <a:lnTo>
                    <a:pt x="964" y="2970"/>
                  </a:lnTo>
                  <a:lnTo>
                    <a:pt x="945" y="2976"/>
                  </a:lnTo>
                  <a:lnTo>
                    <a:pt x="928" y="2988"/>
                  </a:lnTo>
                  <a:lnTo>
                    <a:pt x="915" y="2980"/>
                  </a:lnTo>
                  <a:lnTo>
                    <a:pt x="907" y="2962"/>
                  </a:lnTo>
                  <a:lnTo>
                    <a:pt x="900" y="2976"/>
                  </a:lnTo>
                  <a:lnTo>
                    <a:pt x="880" y="2977"/>
                  </a:lnTo>
                  <a:lnTo>
                    <a:pt x="874" y="2947"/>
                  </a:lnTo>
                  <a:lnTo>
                    <a:pt x="858" y="2931"/>
                  </a:lnTo>
                  <a:lnTo>
                    <a:pt x="837" y="2925"/>
                  </a:lnTo>
                  <a:lnTo>
                    <a:pt x="810" y="2931"/>
                  </a:lnTo>
                  <a:lnTo>
                    <a:pt x="805" y="2919"/>
                  </a:lnTo>
                  <a:lnTo>
                    <a:pt x="810" y="2875"/>
                  </a:lnTo>
                  <a:lnTo>
                    <a:pt x="765" y="2883"/>
                  </a:lnTo>
                  <a:lnTo>
                    <a:pt x="756" y="2862"/>
                  </a:lnTo>
                  <a:lnTo>
                    <a:pt x="736" y="2854"/>
                  </a:lnTo>
                  <a:lnTo>
                    <a:pt x="732" y="2839"/>
                  </a:lnTo>
                  <a:lnTo>
                    <a:pt x="714" y="2839"/>
                  </a:lnTo>
                  <a:lnTo>
                    <a:pt x="706" y="2784"/>
                  </a:lnTo>
                  <a:lnTo>
                    <a:pt x="688" y="2785"/>
                  </a:lnTo>
                  <a:lnTo>
                    <a:pt x="676" y="2805"/>
                  </a:lnTo>
                  <a:lnTo>
                    <a:pt x="651" y="2800"/>
                  </a:lnTo>
                  <a:lnTo>
                    <a:pt x="657" y="2764"/>
                  </a:lnTo>
                  <a:lnTo>
                    <a:pt x="643" y="2766"/>
                  </a:lnTo>
                  <a:lnTo>
                    <a:pt x="636" y="2743"/>
                  </a:lnTo>
                  <a:lnTo>
                    <a:pt x="615" y="2731"/>
                  </a:lnTo>
                  <a:lnTo>
                    <a:pt x="601" y="2704"/>
                  </a:lnTo>
                  <a:lnTo>
                    <a:pt x="577" y="2691"/>
                  </a:lnTo>
                  <a:lnTo>
                    <a:pt x="576" y="2670"/>
                  </a:lnTo>
                  <a:lnTo>
                    <a:pt x="555" y="2659"/>
                  </a:lnTo>
                  <a:lnTo>
                    <a:pt x="532" y="2659"/>
                  </a:lnTo>
                  <a:lnTo>
                    <a:pt x="525" y="2644"/>
                  </a:lnTo>
                  <a:lnTo>
                    <a:pt x="505" y="2643"/>
                  </a:lnTo>
                  <a:lnTo>
                    <a:pt x="499" y="2613"/>
                  </a:lnTo>
                  <a:lnTo>
                    <a:pt x="475" y="2635"/>
                  </a:lnTo>
                  <a:lnTo>
                    <a:pt x="456" y="2652"/>
                  </a:lnTo>
                  <a:lnTo>
                    <a:pt x="436" y="2647"/>
                  </a:lnTo>
                  <a:lnTo>
                    <a:pt x="435" y="2622"/>
                  </a:lnTo>
                  <a:lnTo>
                    <a:pt x="418" y="2604"/>
                  </a:lnTo>
                  <a:lnTo>
                    <a:pt x="397" y="2586"/>
                  </a:lnTo>
                  <a:lnTo>
                    <a:pt x="375" y="2572"/>
                  </a:lnTo>
                  <a:lnTo>
                    <a:pt x="366" y="2551"/>
                  </a:lnTo>
                  <a:lnTo>
                    <a:pt x="348" y="2541"/>
                  </a:lnTo>
                  <a:lnTo>
                    <a:pt x="340" y="2520"/>
                  </a:lnTo>
                  <a:lnTo>
                    <a:pt x="321" y="2521"/>
                  </a:lnTo>
                  <a:lnTo>
                    <a:pt x="315" y="2509"/>
                  </a:lnTo>
                  <a:lnTo>
                    <a:pt x="298" y="2509"/>
                  </a:lnTo>
                  <a:lnTo>
                    <a:pt x="292" y="2485"/>
                  </a:lnTo>
                  <a:lnTo>
                    <a:pt x="292" y="2460"/>
                  </a:lnTo>
                  <a:lnTo>
                    <a:pt x="265" y="2463"/>
                  </a:lnTo>
                  <a:lnTo>
                    <a:pt x="243" y="2466"/>
                  </a:lnTo>
                  <a:lnTo>
                    <a:pt x="244" y="2442"/>
                  </a:lnTo>
                  <a:lnTo>
                    <a:pt x="259" y="2428"/>
                  </a:lnTo>
                  <a:lnTo>
                    <a:pt x="261" y="2394"/>
                  </a:lnTo>
                  <a:lnTo>
                    <a:pt x="252" y="2379"/>
                  </a:lnTo>
                  <a:lnTo>
                    <a:pt x="238" y="2349"/>
                  </a:lnTo>
                  <a:lnTo>
                    <a:pt x="243" y="2319"/>
                  </a:lnTo>
                  <a:lnTo>
                    <a:pt x="253" y="2308"/>
                  </a:lnTo>
                  <a:lnTo>
                    <a:pt x="267" y="2320"/>
                  </a:lnTo>
                  <a:lnTo>
                    <a:pt x="283" y="2319"/>
                  </a:lnTo>
                  <a:lnTo>
                    <a:pt x="288" y="2346"/>
                  </a:lnTo>
                  <a:lnTo>
                    <a:pt x="306" y="2347"/>
                  </a:lnTo>
                  <a:lnTo>
                    <a:pt x="313" y="2331"/>
                  </a:lnTo>
                  <a:lnTo>
                    <a:pt x="334" y="2323"/>
                  </a:lnTo>
                  <a:lnTo>
                    <a:pt x="349" y="2320"/>
                  </a:lnTo>
                  <a:lnTo>
                    <a:pt x="343" y="2295"/>
                  </a:lnTo>
                  <a:lnTo>
                    <a:pt x="348" y="2280"/>
                  </a:lnTo>
                  <a:lnTo>
                    <a:pt x="336" y="2254"/>
                  </a:lnTo>
                  <a:lnTo>
                    <a:pt x="315" y="2244"/>
                  </a:lnTo>
                  <a:lnTo>
                    <a:pt x="315" y="2220"/>
                  </a:lnTo>
                  <a:lnTo>
                    <a:pt x="304" y="2208"/>
                  </a:lnTo>
                  <a:lnTo>
                    <a:pt x="319" y="2190"/>
                  </a:lnTo>
                  <a:lnTo>
                    <a:pt x="303" y="2172"/>
                  </a:lnTo>
                  <a:lnTo>
                    <a:pt x="316" y="2164"/>
                  </a:lnTo>
                  <a:lnTo>
                    <a:pt x="318" y="2145"/>
                  </a:lnTo>
                  <a:lnTo>
                    <a:pt x="340" y="2148"/>
                  </a:lnTo>
                  <a:lnTo>
                    <a:pt x="339" y="2115"/>
                  </a:lnTo>
                  <a:lnTo>
                    <a:pt x="327" y="2097"/>
                  </a:lnTo>
                  <a:lnTo>
                    <a:pt x="300" y="2086"/>
                  </a:lnTo>
                  <a:lnTo>
                    <a:pt x="253" y="2077"/>
                  </a:lnTo>
                  <a:lnTo>
                    <a:pt x="291" y="2062"/>
                  </a:lnTo>
                  <a:lnTo>
                    <a:pt x="283" y="2037"/>
                  </a:lnTo>
                  <a:lnTo>
                    <a:pt x="283" y="2004"/>
                  </a:lnTo>
                  <a:lnTo>
                    <a:pt x="294" y="1983"/>
                  </a:lnTo>
                  <a:lnTo>
                    <a:pt x="283" y="1971"/>
                  </a:lnTo>
                  <a:lnTo>
                    <a:pt x="229" y="1969"/>
                  </a:lnTo>
                  <a:lnTo>
                    <a:pt x="204" y="1947"/>
                  </a:lnTo>
                  <a:lnTo>
                    <a:pt x="178" y="1938"/>
                  </a:lnTo>
                  <a:lnTo>
                    <a:pt x="174" y="1914"/>
                  </a:lnTo>
                  <a:lnTo>
                    <a:pt x="156" y="1902"/>
                  </a:lnTo>
                  <a:lnTo>
                    <a:pt x="136" y="1899"/>
                  </a:lnTo>
                  <a:lnTo>
                    <a:pt x="115" y="1881"/>
                  </a:lnTo>
                  <a:lnTo>
                    <a:pt x="109" y="1866"/>
                  </a:lnTo>
                  <a:lnTo>
                    <a:pt x="121" y="1857"/>
                  </a:lnTo>
                  <a:lnTo>
                    <a:pt x="127" y="1810"/>
                  </a:lnTo>
                  <a:lnTo>
                    <a:pt x="112" y="1798"/>
                  </a:lnTo>
                  <a:lnTo>
                    <a:pt x="88" y="1774"/>
                  </a:lnTo>
                  <a:lnTo>
                    <a:pt x="79" y="1749"/>
                  </a:lnTo>
                  <a:lnTo>
                    <a:pt x="52" y="1749"/>
                  </a:lnTo>
                  <a:lnTo>
                    <a:pt x="37" y="1735"/>
                  </a:lnTo>
                  <a:lnTo>
                    <a:pt x="13" y="1726"/>
                  </a:lnTo>
                  <a:lnTo>
                    <a:pt x="13" y="1702"/>
                  </a:lnTo>
                  <a:lnTo>
                    <a:pt x="46" y="1707"/>
                  </a:lnTo>
                  <a:lnTo>
                    <a:pt x="76" y="1707"/>
                  </a:lnTo>
                  <a:lnTo>
                    <a:pt x="76" y="1681"/>
                  </a:lnTo>
                  <a:lnTo>
                    <a:pt x="63" y="1668"/>
                  </a:lnTo>
                  <a:lnTo>
                    <a:pt x="75" y="1651"/>
                  </a:lnTo>
                  <a:lnTo>
                    <a:pt x="81" y="1620"/>
                  </a:lnTo>
                  <a:lnTo>
                    <a:pt x="63" y="1609"/>
                  </a:lnTo>
                  <a:lnTo>
                    <a:pt x="79" y="1593"/>
                  </a:lnTo>
                  <a:lnTo>
                    <a:pt x="76" y="1561"/>
                  </a:lnTo>
                  <a:lnTo>
                    <a:pt x="58" y="1563"/>
                  </a:lnTo>
                  <a:lnTo>
                    <a:pt x="49" y="1548"/>
                  </a:lnTo>
                  <a:lnTo>
                    <a:pt x="34" y="1534"/>
                  </a:lnTo>
                  <a:lnTo>
                    <a:pt x="4" y="1546"/>
                  </a:lnTo>
                  <a:lnTo>
                    <a:pt x="1" y="1521"/>
                  </a:lnTo>
                  <a:lnTo>
                    <a:pt x="0" y="1503"/>
                  </a:lnTo>
                  <a:lnTo>
                    <a:pt x="13" y="1497"/>
                  </a:lnTo>
                  <a:lnTo>
                    <a:pt x="16" y="1483"/>
                  </a:lnTo>
                  <a:lnTo>
                    <a:pt x="1" y="1465"/>
                  </a:lnTo>
                  <a:lnTo>
                    <a:pt x="16" y="1459"/>
                  </a:lnTo>
                  <a:lnTo>
                    <a:pt x="19" y="1437"/>
                  </a:lnTo>
                  <a:lnTo>
                    <a:pt x="39" y="1438"/>
                  </a:lnTo>
                  <a:lnTo>
                    <a:pt x="34" y="1404"/>
                  </a:lnTo>
                  <a:lnTo>
                    <a:pt x="52" y="1402"/>
                  </a:lnTo>
                  <a:lnTo>
                    <a:pt x="54" y="1389"/>
                  </a:lnTo>
                  <a:lnTo>
                    <a:pt x="90" y="1392"/>
                  </a:lnTo>
                  <a:lnTo>
                    <a:pt x="82" y="1374"/>
                  </a:lnTo>
                  <a:lnTo>
                    <a:pt x="124" y="1381"/>
                  </a:lnTo>
                  <a:lnTo>
                    <a:pt x="130" y="1368"/>
                  </a:lnTo>
                  <a:lnTo>
                    <a:pt x="145" y="1360"/>
                  </a:lnTo>
                  <a:lnTo>
                    <a:pt x="157" y="1351"/>
                  </a:lnTo>
                  <a:lnTo>
                    <a:pt x="168" y="1369"/>
                  </a:lnTo>
                  <a:lnTo>
                    <a:pt x="184" y="1371"/>
                  </a:lnTo>
                  <a:lnTo>
                    <a:pt x="199" y="1365"/>
                  </a:lnTo>
                  <a:lnTo>
                    <a:pt x="207" y="1350"/>
                  </a:lnTo>
                  <a:lnTo>
                    <a:pt x="219" y="1351"/>
                  </a:lnTo>
                  <a:lnTo>
                    <a:pt x="220" y="1365"/>
                  </a:lnTo>
                  <a:lnTo>
                    <a:pt x="216" y="1393"/>
                  </a:lnTo>
                  <a:lnTo>
                    <a:pt x="235" y="1392"/>
                  </a:lnTo>
                  <a:lnTo>
                    <a:pt x="258" y="1402"/>
                  </a:lnTo>
                  <a:lnTo>
                    <a:pt x="289" y="1405"/>
                  </a:lnTo>
                  <a:lnTo>
                    <a:pt x="304" y="1398"/>
                  </a:lnTo>
                  <a:lnTo>
                    <a:pt x="301" y="1375"/>
                  </a:lnTo>
                  <a:lnTo>
                    <a:pt x="312" y="1366"/>
                  </a:lnTo>
                  <a:lnTo>
                    <a:pt x="328" y="1365"/>
                  </a:lnTo>
                  <a:close/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8" name="Freeform 86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3184" y="1692"/>
              <a:ext cx="1114" cy="835"/>
            </a:xfrm>
            <a:custGeom>
              <a:avLst/>
              <a:gdLst>
                <a:gd name="T0" fmla="*/ 623 w 3179"/>
                <a:gd name="T1" fmla="*/ 1201 h 2368"/>
                <a:gd name="T2" fmla="*/ 798 w 3179"/>
                <a:gd name="T3" fmla="*/ 1146 h 2368"/>
                <a:gd name="T4" fmla="*/ 982 w 3179"/>
                <a:gd name="T5" fmla="*/ 1081 h 2368"/>
                <a:gd name="T6" fmla="*/ 1036 w 3179"/>
                <a:gd name="T7" fmla="*/ 972 h 2368"/>
                <a:gd name="T8" fmla="*/ 1121 w 3179"/>
                <a:gd name="T9" fmla="*/ 901 h 2368"/>
                <a:gd name="T10" fmla="*/ 1110 w 3179"/>
                <a:gd name="T11" fmla="*/ 745 h 2368"/>
                <a:gd name="T12" fmla="*/ 1130 w 3179"/>
                <a:gd name="T13" fmla="*/ 622 h 2368"/>
                <a:gd name="T14" fmla="*/ 1245 w 3179"/>
                <a:gd name="T15" fmla="*/ 576 h 2368"/>
                <a:gd name="T16" fmla="*/ 1405 w 3179"/>
                <a:gd name="T17" fmla="*/ 593 h 2368"/>
                <a:gd name="T18" fmla="*/ 1395 w 3179"/>
                <a:gd name="T19" fmla="*/ 534 h 2368"/>
                <a:gd name="T20" fmla="*/ 1510 w 3179"/>
                <a:gd name="T21" fmla="*/ 404 h 2368"/>
                <a:gd name="T22" fmla="*/ 1576 w 3179"/>
                <a:gd name="T23" fmla="*/ 270 h 2368"/>
                <a:gd name="T24" fmla="*/ 1759 w 3179"/>
                <a:gd name="T25" fmla="*/ 344 h 2368"/>
                <a:gd name="T26" fmla="*/ 1890 w 3179"/>
                <a:gd name="T27" fmla="*/ 339 h 2368"/>
                <a:gd name="T28" fmla="*/ 1913 w 3179"/>
                <a:gd name="T29" fmla="*/ 124 h 2368"/>
                <a:gd name="T30" fmla="*/ 2032 w 3179"/>
                <a:gd name="T31" fmla="*/ 88 h 2368"/>
                <a:gd name="T32" fmla="*/ 2129 w 3179"/>
                <a:gd name="T33" fmla="*/ 23 h 2368"/>
                <a:gd name="T34" fmla="*/ 2224 w 3179"/>
                <a:gd name="T35" fmla="*/ 95 h 2368"/>
                <a:gd name="T36" fmla="*/ 2286 w 3179"/>
                <a:gd name="T37" fmla="*/ 210 h 2368"/>
                <a:gd name="T38" fmla="*/ 2399 w 3179"/>
                <a:gd name="T39" fmla="*/ 258 h 2368"/>
                <a:gd name="T40" fmla="*/ 2470 w 3179"/>
                <a:gd name="T41" fmla="*/ 387 h 2368"/>
                <a:gd name="T42" fmla="*/ 2534 w 3179"/>
                <a:gd name="T43" fmla="*/ 484 h 2368"/>
                <a:gd name="T44" fmla="*/ 2484 w 3179"/>
                <a:gd name="T45" fmla="*/ 663 h 2368"/>
                <a:gd name="T46" fmla="*/ 2639 w 3179"/>
                <a:gd name="T47" fmla="*/ 806 h 2368"/>
                <a:gd name="T48" fmla="*/ 2889 w 3179"/>
                <a:gd name="T49" fmla="*/ 903 h 2368"/>
                <a:gd name="T50" fmla="*/ 3062 w 3179"/>
                <a:gd name="T51" fmla="*/ 1060 h 2368"/>
                <a:gd name="T52" fmla="*/ 3179 w 3179"/>
                <a:gd name="T53" fmla="*/ 1276 h 2368"/>
                <a:gd name="T54" fmla="*/ 2993 w 3179"/>
                <a:gd name="T55" fmla="*/ 1419 h 2368"/>
                <a:gd name="T56" fmla="*/ 2777 w 3179"/>
                <a:gd name="T57" fmla="*/ 1553 h 2368"/>
                <a:gd name="T58" fmla="*/ 2785 w 3179"/>
                <a:gd name="T59" fmla="*/ 1830 h 2368"/>
                <a:gd name="T60" fmla="*/ 2419 w 3179"/>
                <a:gd name="T61" fmla="*/ 1893 h 2368"/>
                <a:gd name="T62" fmla="*/ 2253 w 3179"/>
                <a:gd name="T63" fmla="*/ 2034 h 2368"/>
                <a:gd name="T64" fmla="*/ 2299 w 3179"/>
                <a:gd name="T65" fmla="*/ 2202 h 2368"/>
                <a:gd name="T66" fmla="*/ 2279 w 3179"/>
                <a:gd name="T67" fmla="*/ 2317 h 2368"/>
                <a:gd name="T68" fmla="*/ 2088 w 3179"/>
                <a:gd name="T69" fmla="*/ 2311 h 2368"/>
                <a:gd name="T70" fmla="*/ 1879 w 3179"/>
                <a:gd name="T71" fmla="*/ 2210 h 2368"/>
                <a:gd name="T72" fmla="*/ 1644 w 3179"/>
                <a:gd name="T73" fmla="*/ 2234 h 2368"/>
                <a:gd name="T74" fmla="*/ 1530 w 3179"/>
                <a:gd name="T75" fmla="*/ 2308 h 2368"/>
                <a:gd name="T76" fmla="*/ 1351 w 3179"/>
                <a:gd name="T77" fmla="*/ 2331 h 2368"/>
                <a:gd name="T78" fmla="*/ 1211 w 3179"/>
                <a:gd name="T79" fmla="*/ 2257 h 2368"/>
                <a:gd name="T80" fmla="*/ 1068 w 3179"/>
                <a:gd name="T81" fmla="*/ 2242 h 2368"/>
                <a:gd name="T82" fmla="*/ 853 w 3179"/>
                <a:gd name="T83" fmla="*/ 2256 h 2368"/>
                <a:gd name="T84" fmla="*/ 678 w 3179"/>
                <a:gd name="T85" fmla="*/ 2279 h 2368"/>
                <a:gd name="T86" fmla="*/ 586 w 3179"/>
                <a:gd name="T87" fmla="*/ 2345 h 2368"/>
                <a:gd name="T88" fmla="*/ 388 w 3179"/>
                <a:gd name="T89" fmla="*/ 2299 h 2368"/>
                <a:gd name="T90" fmla="*/ 434 w 3179"/>
                <a:gd name="T91" fmla="*/ 2136 h 2368"/>
                <a:gd name="T92" fmla="*/ 239 w 3179"/>
                <a:gd name="T93" fmla="*/ 2030 h 2368"/>
                <a:gd name="T94" fmla="*/ 195 w 3179"/>
                <a:gd name="T95" fmla="*/ 1889 h 2368"/>
                <a:gd name="T96" fmla="*/ 57 w 3179"/>
                <a:gd name="T97" fmla="*/ 1774 h 2368"/>
                <a:gd name="T98" fmla="*/ 117 w 3179"/>
                <a:gd name="T99" fmla="*/ 1691 h 2368"/>
                <a:gd name="T100" fmla="*/ 121 w 3179"/>
                <a:gd name="T101" fmla="*/ 1556 h 2368"/>
                <a:gd name="T102" fmla="*/ 6 w 3179"/>
                <a:gd name="T103" fmla="*/ 1483 h 2368"/>
                <a:gd name="T104" fmla="*/ 2 w 3179"/>
                <a:gd name="T105" fmla="*/ 1359 h 2368"/>
                <a:gd name="T106" fmla="*/ 80 w 3179"/>
                <a:gd name="T107" fmla="*/ 1262 h 2368"/>
                <a:gd name="T108" fmla="*/ 200 w 3179"/>
                <a:gd name="T109" fmla="*/ 1210 h 2368"/>
                <a:gd name="T110" fmla="*/ 305 w 3179"/>
                <a:gd name="T111" fmla="*/ 1205 h 2368"/>
                <a:gd name="T112" fmla="*/ 361 w 3179"/>
                <a:gd name="T113" fmla="*/ 1247 h 2368"/>
                <a:gd name="T114" fmla="*/ 479 w 3179"/>
                <a:gd name="T115" fmla="*/ 1207 h 236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79"/>
                <a:gd name="T175" fmla="*/ 0 h 2368"/>
                <a:gd name="T176" fmla="*/ 3179 w 3179"/>
                <a:gd name="T177" fmla="*/ 2368 h 236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79" h="2368">
                  <a:moveTo>
                    <a:pt x="503" y="1205"/>
                  </a:moveTo>
                  <a:lnTo>
                    <a:pt x="513" y="1173"/>
                  </a:lnTo>
                  <a:lnTo>
                    <a:pt x="545" y="1166"/>
                  </a:lnTo>
                  <a:lnTo>
                    <a:pt x="577" y="1184"/>
                  </a:lnTo>
                  <a:lnTo>
                    <a:pt x="623" y="1201"/>
                  </a:lnTo>
                  <a:lnTo>
                    <a:pt x="677" y="1205"/>
                  </a:lnTo>
                  <a:lnTo>
                    <a:pt x="695" y="1192"/>
                  </a:lnTo>
                  <a:lnTo>
                    <a:pt x="725" y="1173"/>
                  </a:lnTo>
                  <a:lnTo>
                    <a:pt x="757" y="1152"/>
                  </a:lnTo>
                  <a:lnTo>
                    <a:pt x="798" y="1146"/>
                  </a:lnTo>
                  <a:lnTo>
                    <a:pt x="840" y="1124"/>
                  </a:lnTo>
                  <a:lnTo>
                    <a:pt x="866" y="1110"/>
                  </a:lnTo>
                  <a:lnTo>
                    <a:pt x="935" y="1118"/>
                  </a:lnTo>
                  <a:lnTo>
                    <a:pt x="959" y="1101"/>
                  </a:lnTo>
                  <a:lnTo>
                    <a:pt x="982" y="1081"/>
                  </a:lnTo>
                  <a:lnTo>
                    <a:pt x="1024" y="1083"/>
                  </a:lnTo>
                  <a:lnTo>
                    <a:pt x="1041" y="1069"/>
                  </a:lnTo>
                  <a:lnTo>
                    <a:pt x="1041" y="1021"/>
                  </a:lnTo>
                  <a:lnTo>
                    <a:pt x="1033" y="998"/>
                  </a:lnTo>
                  <a:lnTo>
                    <a:pt x="1036" y="972"/>
                  </a:lnTo>
                  <a:lnTo>
                    <a:pt x="1073" y="971"/>
                  </a:lnTo>
                  <a:lnTo>
                    <a:pt x="1070" y="934"/>
                  </a:lnTo>
                  <a:lnTo>
                    <a:pt x="1096" y="938"/>
                  </a:lnTo>
                  <a:lnTo>
                    <a:pt x="1124" y="934"/>
                  </a:lnTo>
                  <a:lnTo>
                    <a:pt x="1121" y="901"/>
                  </a:lnTo>
                  <a:lnTo>
                    <a:pt x="1125" y="851"/>
                  </a:lnTo>
                  <a:lnTo>
                    <a:pt x="1151" y="828"/>
                  </a:lnTo>
                  <a:lnTo>
                    <a:pt x="1130" y="797"/>
                  </a:lnTo>
                  <a:lnTo>
                    <a:pt x="1128" y="760"/>
                  </a:lnTo>
                  <a:lnTo>
                    <a:pt x="1110" y="745"/>
                  </a:lnTo>
                  <a:lnTo>
                    <a:pt x="1102" y="719"/>
                  </a:lnTo>
                  <a:lnTo>
                    <a:pt x="1128" y="709"/>
                  </a:lnTo>
                  <a:lnTo>
                    <a:pt x="1134" y="671"/>
                  </a:lnTo>
                  <a:lnTo>
                    <a:pt x="1148" y="643"/>
                  </a:lnTo>
                  <a:lnTo>
                    <a:pt x="1130" y="622"/>
                  </a:lnTo>
                  <a:lnTo>
                    <a:pt x="1091" y="616"/>
                  </a:lnTo>
                  <a:lnTo>
                    <a:pt x="1088" y="588"/>
                  </a:lnTo>
                  <a:lnTo>
                    <a:pt x="1110" y="574"/>
                  </a:lnTo>
                  <a:lnTo>
                    <a:pt x="1185" y="579"/>
                  </a:lnTo>
                  <a:lnTo>
                    <a:pt x="1245" y="576"/>
                  </a:lnTo>
                  <a:lnTo>
                    <a:pt x="1266" y="557"/>
                  </a:lnTo>
                  <a:lnTo>
                    <a:pt x="1317" y="553"/>
                  </a:lnTo>
                  <a:lnTo>
                    <a:pt x="1335" y="576"/>
                  </a:lnTo>
                  <a:lnTo>
                    <a:pt x="1345" y="604"/>
                  </a:lnTo>
                  <a:lnTo>
                    <a:pt x="1405" y="593"/>
                  </a:lnTo>
                  <a:lnTo>
                    <a:pt x="1420" y="617"/>
                  </a:lnTo>
                  <a:lnTo>
                    <a:pt x="1443" y="613"/>
                  </a:lnTo>
                  <a:lnTo>
                    <a:pt x="1451" y="565"/>
                  </a:lnTo>
                  <a:lnTo>
                    <a:pt x="1401" y="565"/>
                  </a:lnTo>
                  <a:lnTo>
                    <a:pt x="1395" y="534"/>
                  </a:lnTo>
                  <a:lnTo>
                    <a:pt x="1415" y="521"/>
                  </a:lnTo>
                  <a:lnTo>
                    <a:pt x="1438" y="491"/>
                  </a:lnTo>
                  <a:lnTo>
                    <a:pt x="1466" y="461"/>
                  </a:lnTo>
                  <a:lnTo>
                    <a:pt x="1489" y="424"/>
                  </a:lnTo>
                  <a:lnTo>
                    <a:pt x="1510" y="404"/>
                  </a:lnTo>
                  <a:lnTo>
                    <a:pt x="1507" y="381"/>
                  </a:lnTo>
                  <a:lnTo>
                    <a:pt x="1524" y="341"/>
                  </a:lnTo>
                  <a:lnTo>
                    <a:pt x="1553" y="313"/>
                  </a:lnTo>
                  <a:lnTo>
                    <a:pt x="1553" y="281"/>
                  </a:lnTo>
                  <a:lnTo>
                    <a:pt x="1576" y="270"/>
                  </a:lnTo>
                  <a:lnTo>
                    <a:pt x="1607" y="289"/>
                  </a:lnTo>
                  <a:lnTo>
                    <a:pt x="1644" y="335"/>
                  </a:lnTo>
                  <a:lnTo>
                    <a:pt x="1682" y="326"/>
                  </a:lnTo>
                  <a:lnTo>
                    <a:pt x="1722" y="344"/>
                  </a:lnTo>
                  <a:lnTo>
                    <a:pt x="1759" y="344"/>
                  </a:lnTo>
                  <a:lnTo>
                    <a:pt x="1765" y="373"/>
                  </a:lnTo>
                  <a:lnTo>
                    <a:pt x="1810" y="369"/>
                  </a:lnTo>
                  <a:lnTo>
                    <a:pt x="1821" y="336"/>
                  </a:lnTo>
                  <a:lnTo>
                    <a:pt x="1857" y="349"/>
                  </a:lnTo>
                  <a:lnTo>
                    <a:pt x="1890" y="339"/>
                  </a:lnTo>
                  <a:lnTo>
                    <a:pt x="1893" y="304"/>
                  </a:lnTo>
                  <a:lnTo>
                    <a:pt x="1888" y="230"/>
                  </a:lnTo>
                  <a:lnTo>
                    <a:pt x="1890" y="166"/>
                  </a:lnTo>
                  <a:lnTo>
                    <a:pt x="1917" y="164"/>
                  </a:lnTo>
                  <a:lnTo>
                    <a:pt x="1913" y="124"/>
                  </a:lnTo>
                  <a:lnTo>
                    <a:pt x="1934" y="114"/>
                  </a:lnTo>
                  <a:lnTo>
                    <a:pt x="1980" y="129"/>
                  </a:lnTo>
                  <a:lnTo>
                    <a:pt x="1991" y="109"/>
                  </a:lnTo>
                  <a:lnTo>
                    <a:pt x="2028" y="123"/>
                  </a:lnTo>
                  <a:lnTo>
                    <a:pt x="2032" y="88"/>
                  </a:lnTo>
                  <a:lnTo>
                    <a:pt x="2068" y="64"/>
                  </a:lnTo>
                  <a:lnTo>
                    <a:pt x="2060" y="26"/>
                  </a:lnTo>
                  <a:lnTo>
                    <a:pt x="2083" y="18"/>
                  </a:lnTo>
                  <a:lnTo>
                    <a:pt x="2106" y="0"/>
                  </a:lnTo>
                  <a:lnTo>
                    <a:pt x="2129" y="23"/>
                  </a:lnTo>
                  <a:lnTo>
                    <a:pt x="2180" y="21"/>
                  </a:lnTo>
                  <a:lnTo>
                    <a:pt x="2212" y="26"/>
                  </a:lnTo>
                  <a:lnTo>
                    <a:pt x="2207" y="54"/>
                  </a:lnTo>
                  <a:lnTo>
                    <a:pt x="2198" y="88"/>
                  </a:lnTo>
                  <a:lnTo>
                    <a:pt x="2224" y="95"/>
                  </a:lnTo>
                  <a:lnTo>
                    <a:pt x="2215" y="150"/>
                  </a:lnTo>
                  <a:lnTo>
                    <a:pt x="2253" y="141"/>
                  </a:lnTo>
                  <a:lnTo>
                    <a:pt x="2256" y="174"/>
                  </a:lnTo>
                  <a:lnTo>
                    <a:pt x="2276" y="184"/>
                  </a:lnTo>
                  <a:lnTo>
                    <a:pt x="2286" y="210"/>
                  </a:lnTo>
                  <a:lnTo>
                    <a:pt x="2290" y="238"/>
                  </a:lnTo>
                  <a:lnTo>
                    <a:pt x="2303" y="258"/>
                  </a:lnTo>
                  <a:lnTo>
                    <a:pt x="2358" y="258"/>
                  </a:lnTo>
                  <a:lnTo>
                    <a:pt x="2381" y="243"/>
                  </a:lnTo>
                  <a:lnTo>
                    <a:pt x="2399" y="258"/>
                  </a:lnTo>
                  <a:lnTo>
                    <a:pt x="2401" y="298"/>
                  </a:lnTo>
                  <a:lnTo>
                    <a:pt x="2447" y="290"/>
                  </a:lnTo>
                  <a:lnTo>
                    <a:pt x="2456" y="321"/>
                  </a:lnTo>
                  <a:lnTo>
                    <a:pt x="2482" y="318"/>
                  </a:lnTo>
                  <a:lnTo>
                    <a:pt x="2470" y="387"/>
                  </a:lnTo>
                  <a:lnTo>
                    <a:pt x="2491" y="395"/>
                  </a:lnTo>
                  <a:lnTo>
                    <a:pt x="2484" y="433"/>
                  </a:lnTo>
                  <a:lnTo>
                    <a:pt x="2505" y="442"/>
                  </a:lnTo>
                  <a:lnTo>
                    <a:pt x="2501" y="470"/>
                  </a:lnTo>
                  <a:lnTo>
                    <a:pt x="2534" y="484"/>
                  </a:lnTo>
                  <a:lnTo>
                    <a:pt x="2530" y="528"/>
                  </a:lnTo>
                  <a:lnTo>
                    <a:pt x="2534" y="585"/>
                  </a:lnTo>
                  <a:lnTo>
                    <a:pt x="2507" y="593"/>
                  </a:lnTo>
                  <a:lnTo>
                    <a:pt x="2502" y="643"/>
                  </a:lnTo>
                  <a:lnTo>
                    <a:pt x="2484" y="663"/>
                  </a:lnTo>
                  <a:lnTo>
                    <a:pt x="2484" y="709"/>
                  </a:lnTo>
                  <a:lnTo>
                    <a:pt x="2470" y="745"/>
                  </a:lnTo>
                  <a:lnTo>
                    <a:pt x="2507" y="774"/>
                  </a:lnTo>
                  <a:lnTo>
                    <a:pt x="2551" y="806"/>
                  </a:lnTo>
                  <a:lnTo>
                    <a:pt x="2639" y="806"/>
                  </a:lnTo>
                  <a:lnTo>
                    <a:pt x="2662" y="837"/>
                  </a:lnTo>
                  <a:lnTo>
                    <a:pt x="2755" y="828"/>
                  </a:lnTo>
                  <a:lnTo>
                    <a:pt x="2788" y="865"/>
                  </a:lnTo>
                  <a:lnTo>
                    <a:pt x="2841" y="869"/>
                  </a:lnTo>
                  <a:lnTo>
                    <a:pt x="2889" y="903"/>
                  </a:lnTo>
                  <a:lnTo>
                    <a:pt x="2949" y="952"/>
                  </a:lnTo>
                  <a:lnTo>
                    <a:pt x="2984" y="984"/>
                  </a:lnTo>
                  <a:lnTo>
                    <a:pt x="3035" y="989"/>
                  </a:lnTo>
                  <a:lnTo>
                    <a:pt x="3059" y="1000"/>
                  </a:lnTo>
                  <a:lnTo>
                    <a:pt x="3062" y="1060"/>
                  </a:lnTo>
                  <a:lnTo>
                    <a:pt x="3095" y="1081"/>
                  </a:lnTo>
                  <a:lnTo>
                    <a:pt x="3092" y="1123"/>
                  </a:lnTo>
                  <a:lnTo>
                    <a:pt x="3127" y="1193"/>
                  </a:lnTo>
                  <a:lnTo>
                    <a:pt x="3170" y="1233"/>
                  </a:lnTo>
                  <a:lnTo>
                    <a:pt x="3179" y="1276"/>
                  </a:lnTo>
                  <a:lnTo>
                    <a:pt x="3177" y="1350"/>
                  </a:lnTo>
                  <a:lnTo>
                    <a:pt x="3150" y="1385"/>
                  </a:lnTo>
                  <a:lnTo>
                    <a:pt x="3073" y="1390"/>
                  </a:lnTo>
                  <a:lnTo>
                    <a:pt x="3045" y="1422"/>
                  </a:lnTo>
                  <a:lnTo>
                    <a:pt x="2993" y="1419"/>
                  </a:lnTo>
                  <a:lnTo>
                    <a:pt x="2935" y="1463"/>
                  </a:lnTo>
                  <a:lnTo>
                    <a:pt x="2906" y="1477"/>
                  </a:lnTo>
                  <a:lnTo>
                    <a:pt x="2883" y="1516"/>
                  </a:lnTo>
                  <a:lnTo>
                    <a:pt x="2832" y="1542"/>
                  </a:lnTo>
                  <a:lnTo>
                    <a:pt x="2777" y="1553"/>
                  </a:lnTo>
                  <a:lnTo>
                    <a:pt x="2765" y="1597"/>
                  </a:lnTo>
                  <a:lnTo>
                    <a:pt x="2768" y="1717"/>
                  </a:lnTo>
                  <a:lnTo>
                    <a:pt x="2783" y="1754"/>
                  </a:lnTo>
                  <a:lnTo>
                    <a:pt x="2772" y="1795"/>
                  </a:lnTo>
                  <a:lnTo>
                    <a:pt x="2785" y="1830"/>
                  </a:lnTo>
                  <a:lnTo>
                    <a:pt x="2710" y="1834"/>
                  </a:lnTo>
                  <a:lnTo>
                    <a:pt x="2659" y="1866"/>
                  </a:lnTo>
                  <a:lnTo>
                    <a:pt x="2571" y="1870"/>
                  </a:lnTo>
                  <a:lnTo>
                    <a:pt x="2500" y="1897"/>
                  </a:lnTo>
                  <a:lnTo>
                    <a:pt x="2419" y="1893"/>
                  </a:lnTo>
                  <a:lnTo>
                    <a:pt x="2350" y="1903"/>
                  </a:lnTo>
                  <a:lnTo>
                    <a:pt x="2286" y="1921"/>
                  </a:lnTo>
                  <a:lnTo>
                    <a:pt x="2249" y="1944"/>
                  </a:lnTo>
                  <a:lnTo>
                    <a:pt x="2249" y="1995"/>
                  </a:lnTo>
                  <a:lnTo>
                    <a:pt x="2253" y="2034"/>
                  </a:lnTo>
                  <a:lnTo>
                    <a:pt x="2287" y="2074"/>
                  </a:lnTo>
                  <a:lnTo>
                    <a:pt x="2322" y="2104"/>
                  </a:lnTo>
                  <a:lnTo>
                    <a:pt x="2379" y="2122"/>
                  </a:lnTo>
                  <a:lnTo>
                    <a:pt x="2339" y="2201"/>
                  </a:lnTo>
                  <a:lnTo>
                    <a:pt x="2299" y="2202"/>
                  </a:lnTo>
                  <a:lnTo>
                    <a:pt x="2289" y="2239"/>
                  </a:lnTo>
                  <a:lnTo>
                    <a:pt x="2293" y="2280"/>
                  </a:lnTo>
                  <a:lnTo>
                    <a:pt x="2332" y="2286"/>
                  </a:lnTo>
                  <a:lnTo>
                    <a:pt x="2331" y="2311"/>
                  </a:lnTo>
                  <a:lnTo>
                    <a:pt x="2279" y="2317"/>
                  </a:lnTo>
                  <a:lnTo>
                    <a:pt x="2233" y="2336"/>
                  </a:lnTo>
                  <a:lnTo>
                    <a:pt x="2203" y="2308"/>
                  </a:lnTo>
                  <a:lnTo>
                    <a:pt x="2148" y="2304"/>
                  </a:lnTo>
                  <a:lnTo>
                    <a:pt x="2123" y="2293"/>
                  </a:lnTo>
                  <a:lnTo>
                    <a:pt x="2088" y="2311"/>
                  </a:lnTo>
                  <a:lnTo>
                    <a:pt x="2032" y="2276"/>
                  </a:lnTo>
                  <a:lnTo>
                    <a:pt x="2000" y="2256"/>
                  </a:lnTo>
                  <a:lnTo>
                    <a:pt x="1971" y="2253"/>
                  </a:lnTo>
                  <a:lnTo>
                    <a:pt x="1963" y="2224"/>
                  </a:lnTo>
                  <a:lnTo>
                    <a:pt x="1879" y="2210"/>
                  </a:lnTo>
                  <a:lnTo>
                    <a:pt x="1791" y="2216"/>
                  </a:lnTo>
                  <a:lnTo>
                    <a:pt x="1768" y="2237"/>
                  </a:lnTo>
                  <a:lnTo>
                    <a:pt x="1705" y="2233"/>
                  </a:lnTo>
                  <a:lnTo>
                    <a:pt x="1669" y="2247"/>
                  </a:lnTo>
                  <a:lnTo>
                    <a:pt x="1644" y="2234"/>
                  </a:lnTo>
                  <a:lnTo>
                    <a:pt x="1616" y="2261"/>
                  </a:lnTo>
                  <a:lnTo>
                    <a:pt x="1593" y="2276"/>
                  </a:lnTo>
                  <a:lnTo>
                    <a:pt x="1580" y="2297"/>
                  </a:lnTo>
                  <a:lnTo>
                    <a:pt x="1549" y="2297"/>
                  </a:lnTo>
                  <a:lnTo>
                    <a:pt x="1530" y="2308"/>
                  </a:lnTo>
                  <a:lnTo>
                    <a:pt x="1501" y="2290"/>
                  </a:lnTo>
                  <a:lnTo>
                    <a:pt x="1406" y="2290"/>
                  </a:lnTo>
                  <a:lnTo>
                    <a:pt x="1388" y="2308"/>
                  </a:lnTo>
                  <a:lnTo>
                    <a:pt x="1363" y="2308"/>
                  </a:lnTo>
                  <a:lnTo>
                    <a:pt x="1351" y="2331"/>
                  </a:lnTo>
                  <a:lnTo>
                    <a:pt x="1317" y="2334"/>
                  </a:lnTo>
                  <a:lnTo>
                    <a:pt x="1294" y="2311"/>
                  </a:lnTo>
                  <a:lnTo>
                    <a:pt x="1248" y="2320"/>
                  </a:lnTo>
                  <a:lnTo>
                    <a:pt x="1226" y="2294"/>
                  </a:lnTo>
                  <a:lnTo>
                    <a:pt x="1211" y="2257"/>
                  </a:lnTo>
                  <a:lnTo>
                    <a:pt x="1148" y="2261"/>
                  </a:lnTo>
                  <a:lnTo>
                    <a:pt x="1134" y="2242"/>
                  </a:lnTo>
                  <a:lnTo>
                    <a:pt x="1102" y="2248"/>
                  </a:lnTo>
                  <a:lnTo>
                    <a:pt x="1078" y="2219"/>
                  </a:lnTo>
                  <a:lnTo>
                    <a:pt x="1068" y="2242"/>
                  </a:lnTo>
                  <a:lnTo>
                    <a:pt x="1015" y="2244"/>
                  </a:lnTo>
                  <a:lnTo>
                    <a:pt x="990" y="2285"/>
                  </a:lnTo>
                  <a:lnTo>
                    <a:pt x="946" y="2297"/>
                  </a:lnTo>
                  <a:lnTo>
                    <a:pt x="909" y="2257"/>
                  </a:lnTo>
                  <a:lnTo>
                    <a:pt x="853" y="2256"/>
                  </a:lnTo>
                  <a:lnTo>
                    <a:pt x="812" y="2225"/>
                  </a:lnTo>
                  <a:lnTo>
                    <a:pt x="764" y="2214"/>
                  </a:lnTo>
                  <a:lnTo>
                    <a:pt x="732" y="2244"/>
                  </a:lnTo>
                  <a:lnTo>
                    <a:pt x="709" y="2279"/>
                  </a:lnTo>
                  <a:lnTo>
                    <a:pt x="678" y="2279"/>
                  </a:lnTo>
                  <a:lnTo>
                    <a:pt x="669" y="2311"/>
                  </a:lnTo>
                  <a:lnTo>
                    <a:pt x="677" y="2336"/>
                  </a:lnTo>
                  <a:lnTo>
                    <a:pt x="645" y="2359"/>
                  </a:lnTo>
                  <a:lnTo>
                    <a:pt x="605" y="2368"/>
                  </a:lnTo>
                  <a:lnTo>
                    <a:pt x="586" y="2345"/>
                  </a:lnTo>
                  <a:lnTo>
                    <a:pt x="543" y="2345"/>
                  </a:lnTo>
                  <a:lnTo>
                    <a:pt x="520" y="2357"/>
                  </a:lnTo>
                  <a:lnTo>
                    <a:pt x="502" y="2329"/>
                  </a:lnTo>
                  <a:lnTo>
                    <a:pt x="458" y="2313"/>
                  </a:lnTo>
                  <a:lnTo>
                    <a:pt x="388" y="2299"/>
                  </a:lnTo>
                  <a:lnTo>
                    <a:pt x="447" y="2276"/>
                  </a:lnTo>
                  <a:lnTo>
                    <a:pt x="434" y="2237"/>
                  </a:lnTo>
                  <a:lnTo>
                    <a:pt x="434" y="2187"/>
                  </a:lnTo>
                  <a:lnTo>
                    <a:pt x="451" y="2155"/>
                  </a:lnTo>
                  <a:lnTo>
                    <a:pt x="434" y="2136"/>
                  </a:lnTo>
                  <a:lnTo>
                    <a:pt x="352" y="2133"/>
                  </a:lnTo>
                  <a:lnTo>
                    <a:pt x="313" y="2099"/>
                  </a:lnTo>
                  <a:lnTo>
                    <a:pt x="273" y="2085"/>
                  </a:lnTo>
                  <a:lnTo>
                    <a:pt x="267" y="2049"/>
                  </a:lnTo>
                  <a:lnTo>
                    <a:pt x="239" y="2030"/>
                  </a:lnTo>
                  <a:lnTo>
                    <a:pt x="209" y="2026"/>
                  </a:lnTo>
                  <a:lnTo>
                    <a:pt x="177" y="1998"/>
                  </a:lnTo>
                  <a:lnTo>
                    <a:pt x="167" y="1975"/>
                  </a:lnTo>
                  <a:lnTo>
                    <a:pt x="186" y="1961"/>
                  </a:lnTo>
                  <a:lnTo>
                    <a:pt x="195" y="1889"/>
                  </a:lnTo>
                  <a:lnTo>
                    <a:pt x="172" y="1870"/>
                  </a:lnTo>
                  <a:lnTo>
                    <a:pt x="135" y="1834"/>
                  </a:lnTo>
                  <a:lnTo>
                    <a:pt x="121" y="1795"/>
                  </a:lnTo>
                  <a:lnTo>
                    <a:pt x="80" y="1795"/>
                  </a:lnTo>
                  <a:lnTo>
                    <a:pt x="57" y="1774"/>
                  </a:lnTo>
                  <a:lnTo>
                    <a:pt x="20" y="1760"/>
                  </a:lnTo>
                  <a:lnTo>
                    <a:pt x="20" y="1723"/>
                  </a:lnTo>
                  <a:lnTo>
                    <a:pt x="71" y="1731"/>
                  </a:lnTo>
                  <a:lnTo>
                    <a:pt x="117" y="1731"/>
                  </a:lnTo>
                  <a:lnTo>
                    <a:pt x="117" y="1691"/>
                  </a:lnTo>
                  <a:lnTo>
                    <a:pt x="97" y="1671"/>
                  </a:lnTo>
                  <a:lnTo>
                    <a:pt x="115" y="1645"/>
                  </a:lnTo>
                  <a:lnTo>
                    <a:pt x="124" y="1597"/>
                  </a:lnTo>
                  <a:lnTo>
                    <a:pt x="97" y="1580"/>
                  </a:lnTo>
                  <a:lnTo>
                    <a:pt x="121" y="1556"/>
                  </a:lnTo>
                  <a:lnTo>
                    <a:pt x="117" y="1506"/>
                  </a:lnTo>
                  <a:lnTo>
                    <a:pt x="89" y="1510"/>
                  </a:lnTo>
                  <a:lnTo>
                    <a:pt x="75" y="1487"/>
                  </a:lnTo>
                  <a:lnTo>
                    <a:pt x="52" y="1465"/>
                  </a:lnTo>
                  <a:lnTo>
                    <a:pt x="6" y="1483"/>
                  </a:lnTo>
                  <a:lnTo>
                    <a:pt x="2" y="1445"/>
                  </a:lnTo>
                  <a:lnTo>
                    <a:pt x="0" y="1417"/>
                  </a:lnTo>
                  <a:lnTo>
                    <a:pt x="20" y="1408"/>
                  </a:lnTo>
                  <a:lnTo>
                    <a:pt x="25" y="1387"/>
                  </a:lnTo>
                  <a:lnTo>
                    <a:pt x="2" y="1359"/>
                  </a:lnTo>
                  <a:lnTo>
                    <a:pt x="25" y="1350"/>
                  </a:lnTo>
                  <a:lnTo>
                    <a:pt x="29" y="1316"/>
                  </a:lnTo>
                  <a:lnTo>
                    <a:pt x="60" y="1318"/>
                  </a:lnTo>
                  <a:lnTo>
                    <a:pt x="52" y="1265"/>
                  </a:lnTo>
                  <a:lnTo>
                    <a:pt x="80" y="1262"/>
                  </a:lnTo>
                  <a:lnTo>
                    <a:pt x="83" y="1242"/>
                  </a:lnTo>
                  <a:lnTo>
                    <a:pt x="138" y="1247"/>
                  </a:lnTo>
                  <a:lnTo>
                    <a:pt x="126" y="1219"/>
                  </a:lnTo>
                  <a:lnTo>
                    <a:pt x="190" y="1230"/>
                  </a:lnTo>
                  <a:lnTo>
                    <a:pt x="200" y="1210"/>
                  </a:lnTo>
                  <a:lnTo>
                    <a:pt x="223" y="1198"/>
                  </a:lnTo>
                  <a:lnTo>
                    <a:pt x="241" y="1184"/>
                  </a:lnTo>
                  <a:lnTo>
                    <a:pt x="258" y="1212"/>
                  </a:lnTo>
                  <a:lnTo>
                    <a:pt x="282" y="1215"/>
                  </a:lnTo>
                  <a:lnTo>
                    <a:pt x="305" y="1205"/>
                  </a:lnTo>
                  <a:lnTo>
                    <a:pt x="318" y="1182"/>
                  </a:lnTo>
                  <a:lnTo>
                    <a:pt x="336" y="1184"/>
                  </a:lnTo>
                  <a:lnTo>
                    <a:pt x="338" y="1205"/>
                  </a:lnTo>
                  <a:lnTo>
                    <a:pt x="332" y="1248"/>
                  </a:lnTo>
                  <a:lnTo>
                    <a:pt x="361" y="1247"/>
                  </a:lnTo>
                  <a:lnTo>
                    <a:pt x="396" y="1262"/>
                  </a:lnTo>
                  <a:lnTo>
                    <a:pt x="444" y="1267"/>
                  </a:lnTo>
                  <a:lnTo>
                    <a:pt x="467" y="1256"/>
                  </a:lnTo>
                  <a:lnTo>
                    <a:pt x="462" y="1221"/>
                  </a:lnTo>
                  <a:lnTo>
                    <a:pt x="479" y="1207"/>
                  </a:lnTo>
                  <a:lnTo>
                    <a:pt x="503" y="1205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zh-CN" altLang="en-US"/>
            </a:p>
          </p:txBody>
        </p:sp>
        <p:sp>
          <p:nvSpPr>
            <p:cNvPr id="9" name="Freeform 87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3312" y="2470"/>
              <a:ext cx="1084" cy="576"/>
            </a:xfrm>
            <a:custGeom>
              <a:avLst/>
              <a:gdLst>
                <a:gd name="T0" fmla="*/ 3803 w 4118"/>
                <a:gd name="T1" fmla="*/ 2064 h 2168"/>
                <a:gd name="T2" fmla="*/ 3608 w 4118"/>
                <a:gd name="T3" fmla="*/ 2115 h 2168"/>
                <a:gd name="T4" fmla="*/ 3559 w 4118"/>
                <a:gd name="T5" fmla="*/ 1929 h 2168"/>
                <a:gd name="T6" fmla="*/ 3498 w 4118"/>
                <a:gd name="T7" fmla="*/ 1843 h 2168"/>
                <a:gd name="T8" fmla="*/ 3288 w 4118"/>
                <a:gd name="T9" fmla="*/ 1919 h 2168"/>
                <a:gd name="T10" fmla="*/ 3172 w 4118"/>
                <a:gd name="T11" fmla="*/ 1845 h 2168"/>
                <a:gd name="T12" fmla="*/ 3020 w 4118"/>
                <a:gd name="T13" fmla="*/ 1955 h 2168"/>
                <a:gd name="T14" fmla="*/ 2825 w 4118"/>
                <a:gd name="T15" fmla="*/ 2035 h 2168"/>
                <a:gd name="T16" fmla="*/ 2714 w 4118"/>
                <a:gd name="T17" fmla="*/ 2145 h 2168"/>
                <a:gd name="T18" fmla="*/ 2467 w 4118"/>
                <a:gd name="T19" fmla="*/ 2096 h 2168"/>
                <a:gd name="T20" fmla="*/ 2234 w 4118"/>
                <a:gd name="T21" fmla="*/ 2020 h 2168"/>
                <a:gd name="T22" fmla="*/ 2046 w 4118"/>
                <a:gd name="T23" fmla="*/ 2020 h 2168"/>
                <a:gd name="T24" fmla="*/ 1900 w 4118"/>
                <a:gd name="T25" fmla="*/ 2119 h 2168"/>
                <a:gd name="T26" fmla="*/ 1776 w 4118"/>
                <a:gd name="T27" fmla="*/ 2008 h 2168"/>
                <a:gd name="T28" fmla="*/ 1585 w 4118"/>
                <a:gd name="T29" fmla="*/ 2020 h 2168"/>
                <a:gd name="T30" fmla="*/ 1444 w 4118"/>
                <a:gd name="T31" fmla="*/ 1954 h 2168"/>
                <a:gd name="T32" fmla="*/ 1311 w 4118"/>
                <a:gd name="T33" fmla="*/ 1955 h 2168"/>
                <a:gd name="T34" fmla="*/ 1158 w 4118"/>
                <a:gd name="T35" fmla="*/ 1837 h 2168"/>
                <a:gd name="T36" fmla="*/ 1009 w 4118"/>
                <a:gd name="T37" fmla="*/ 1674 h 2168"/>
                <a:gd name="T38" fmla="*/ 844 w 4118"/>
                <a:gd name="T39" fmla="*/ 1595 h 2168"/>
                <a:gd name="T40" fmla="*/ 741 w 4118"/>
                <a:gd name="T41" fmla="*/ 1398 h 2168"/>
                <a:gd name="T42" fmla="*/ 587 w 4118"/>
                <a:gd name="T43" fmla="*/ 1275 h 2168"/>
                <a:gd name="T44" fmla="*/ 404 w 4118"/>
                <a:gd name="T45" fmla="*/ 1282 h 2168"/>
                <a:gd name="T46" fmla="*/ 261 w 4118"/>
                <a:gd name="T47" fmla="*/ 1086 h 2168"/>
                <a:gd name="T48" fmla="*/ 122 w 4118"/>
                <a:gd name="T49" fmla="*/ 1000 h 2168"/>
                <a:gd name="T50" fmla="*/ 12 w 4118"/>
                <a:gd name="T51" fmla="*/ 863 h 2168"/>
                <a:gd name="T52" fmla="*/ 11 w 4118"/>
                <a:gd name="T53" fmla="*/ 612 h 2168"/>
                <a:gd name="T54" fmla="*/ 138 w 4118"/>
                <a:gd name="T55" fmla="*/ 669 h 2168"/>
                <a:gd name="T56" fmla="*/ 225 w 4118"/>
                <a:gd name="T57" fmla="*/ 533 h 2168"/>
                <a:gd name="T58" fmla="*/ 165 w 4118"/>
                <a:gd name="T59" fmla="*/ 348 h 2168"/>
                <a:gd name="T60" fmla="*/ 206 w 4118"/>
                <a:gd name="T61" fmla="*/ 195 h 2168"/>
                <a:gd name="T62" fmla="*/ 414 w 4118"/>
                <a:gd name="T63" fmla="*/ 166 h 2168"/>
                <a:gd name="T64" fmla="*/ 531 w 4118"/>
                <a:gd name="T65" fmla="*/ 4 h 2168"/>
                <a:gd name="T66" fmla="*/ 833 w 4118"/>
                <a:gd name="T67" fmla="*/ 99 h 2168"/>
                <a:gd name="T68" fmla="*/ 1023 w 4118"/>
                <a:gd name="T69" fmla="*/ 42 h 2168"/>
                <a:gd name="T70" fmla="*/ 1236 w 4118"/>
                <a:gd name="T71" fmla="*/ 133 h 2168"/>
                <a:gd name="T72" fmla="*/ 1386 w 4118"/>
                <a:gd name="T73" fmla="*/ 105 h 2168"/>
                <a:gd name="T74" fmla="*/ 1634 w 4118"/>
                <a:gd name="T75" fmla="*/ 87 h 2168"/>
                <a:gd name="T76" fmla="*/ 1866 w 4118"/>
                <a:gd name="T77" fmla="*/ 34 h 2168"/>
                <a:gd name="T78" fmla="*/ 2173 w 4118"/>
                <a:gd name="T79" fmla="*/ 58 h 2168"/>
                <a:gd name="T80" fmla="*/ 2293 w 4118"/>
                <a:gd name="T81" fmla="*/ 186 h 2168"/>
                <a:gd name="T82" fmla="*/ 2261 w 4118"/>
                <a:gd name="T83" fmla="*/ 467 h 2168"/>
                <a:gd name="T84" fmla="*/ 2394 w 4118"/>
                <a:gd name="T85" fmla="*/ 872 h 2168"/>
                <a:gd name="T86" fmla="*/ 2865 w 4118"/>
                <a:gd name="T87" fmla="*/ 1000 h 2168"/>
                <a:gd name="T88" fmla="*/ 3135 w 4118"/>
                <a:gd name="T89" fmla="*/ 1084 h 2168"/>
                <a:gd name="T90" fmla="*/ 3551 w 4118"/>
                <a:gd name="T91" fmla="*/ 1278 h 2168"/>
                <a:gd name="T92" fmla="*/ 3737 w 4118"/>
                <a:gd name="T93" fmla="*/ 1152 h 2168"/>
                <a:gd name="T94" fmla="*/ 3973 w 4118"/>
                <a:gd name="T95" fmla="*/ 1235 h 2168"/>
                <a:gd name="T96" fmla="*/ 4038 w 4118"/>
                <a:gd name="T97" fmla="*/ 1484 h 2168"/>
                <a:gd name="T98" fmla="*/ 4103 w 4118"/>
                <a:gd name="T99" fmla="*/ 1882 h 2168"/>
                <a:gd name="T100" fmla="*/ 4013 w 4118"/>
                <a:gd name="T101" fmla="*/ 2088 h 216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118"/>
                <a:gd name="T154" fmla="*/ 0 h 2168"/>
                <a:gd name="T155" fmla="*/ 4118 w 4118"/>
                <a:gd name="T156" fmla="*/ 2168 h 216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118" h="2168">
                  <a:moveTo>
                    <a:pt x="3879" y="2164"/>
                  </a:moveTo>
                  <a:lnTo>
                    <a:pt x="3871" y="2108"/>
                  </a:lnTo>
                  <a:lnTo>
                    <a:pt x="3836" y="2115"/>
                  </a:lnTo>
                  <a:lnTo>
                    <a:pt x="3811" y="2103"/>
                  </a:lnTo>
                  <a:lnTo>
                    <a:pt x="3803" y="2064"/>
                  </a:lnTo>
                  <a:lnTo>
                    <a:pt x="3767" y="2060"/>
                  </a:lnTo>
                  <a:lnTo>
                    <a:pt x="3760" y="2113"/>
                  </a:lnTo>
                  <a:lnTo>
                    <a:pt x="3719" y="2137"/>
                  </a:lnTo>
                  <a:lnTo>
                    <a:pt x="3687" y="2103"/>
                  </a:lnTo>
                  <a:lnTo>
                    <a:pt x="3608" y="2115"/>
                  </a:lnTo>
                  <a:lnTo>
                    <a:pt x="3595" y="2060"/>
                  </a:lnTo>
                  <a:lnTo>
                    <a:pt x="3539" y="2076"/>
                  </a:lnTo>
                  <a:lnTo>
                    <a:pt x="3515" y="2042"/>
                  </a:lnTo>
                  <a:lnTo>
                    <a:pt x="3570" y="2011"/>
                  </a:lnTo>
                  <a:lnTo>
                    <a:pt x="3559" y="1929"/>
                  </a:lnTo>
                  <a:lnTo>
                    <a:pt x="3490" y="1950"/>
                  </a:lnTo>
                  <a:lnTo>
                    <a:pt x="3523" y="1917"/>
                  </a:lnTo>
                  <a:lnTo>
                    <a:pt x="3527" y="1881"/>
                  </a:lnTo>
                  <a:lnTo>
                    <a:pt x="3493" y="1882"/>
                  </a:lnTo>
                  <a:lnTo>
                    <a:pt x="3498" y="1843"/>
                  </a:lnTo>
                  <a:lnTo>
                    <a:pt x="3462" y="1839"/>
                  </a:lnTo>
                  <a:lnTo>
                    <a:pt x="3406" y="1845"/>
                  </a:lnTo>
                  <a:lnTo>
                    <a:pt x="3380" y="1889"/>
                  </a:lnTo>
                  <a:lnTo>
                    <a:pt x="3333" y="1919"/>
                  </a:lnTo>
                  <a:lnTo>
                    <a:pt x="3288" y="1919"/>
                  </a:lnTo>
                  <a:lnTo>
                    <a:pt x="3282" y="1886"/>
                  </a:lnTo>
                  <a:lnTo>
                    <a:pt x="3252" y="1886"/>
                  </a:lnTo>
                  <a:lnTo>
                    <a:pt x="3217" y="1905"/>
                  </a:lnTo>
                  <a:lnTo>
                    <a:pt x="3208" y="1855"/>
                  </a:lnTo>
                  <a:lnTo>
                    <a:pt x="3172" y="1845"/>
                  </a:lnTo>
                  <a:lnTo>
                    <a:pt x="3149" y="1867"/>
                  </a:lnTo>
                  <a:lnTo>
                    <a:pt x="3104" y="1867"/>
                  </a:lnTo>
                  <a:lnTo>
                    <a:pt x="3095" y="1889"/>
                  </a:lnTo>
                  <a:lnTo>
                    <a:pt x="3046" y="1889"/>
                  </a:lnTo>
                  <a:lnTo>
                    <a:pt x="3020" y="1955"/>
                  </a:lnTo>
                  <a:lnTo>
                    <a:pt x="2978" y="1974"/>
                  </a:lnTo>
                  <a:lnTo>
                    <a:pt x="2909" y="1966"/>
                  </a:lnTo>
                  <a:lnTo>
                    <a:pt x="2866" y="1986"/>
                  </a:lnTo>
                  <a:lnTo>
                    <a:pt x="2859" y="2046"/>
                  </a:lnTo>
                  <a:lnTo>
                    <a:pt x="2825" y="2035"/>
                  </a:lnTo>
                  <a:lnTo>
                    <a:pt x="2817" y="2072"/>
                  </a:lnTo>
                  <a:lnTo>
                    <a:pt x="2774" y="2091"/>
                  </a:lnTo>
                  <a:lnTo>
                    <a:pt x="2718" y="2078"/>
                  </a:lnTo>
                  <a:lnTo>
                    <a:pt x="2730" y="2121"/>
                  </a:lnTo>
                  <a:lnTo>
                    <a:pt x="2714" y="2145"/>
                  </a:lnTo>
                  <a:lnTo>
                    <a:pt x="2645" y="2137"/>
                  </a:lnTo>
                  <a:lnTo>
                    <a:pt x="2620" y="2168"/>
                  </a:lnTo>
                  <a:lnTo>
                    <a:pt x="2555" y="2164"/>
                  </a:lnTo>
                  <a:lnTo>
                    <a:pt x="2505" y="2152"/>
                  </a:lnTo>
                  <a:lnTo>
                    <a:pt x="2467" y="2096"/>
                  </a:lnTo>
                  <a:lnTo>
                    <a:pt x="2427" y="2039"/>
                  </a:lnTo>
                  <a:lnTo>
                    <a:pt x="2359" y="2030"/>
                  </a:lnTo>
                  <a:lnTo>
                    <a:pt x="2290" y="2042"/>
                  </a:lnTo>
                  <a:lnTo>
                    <a:pt x="2273" y="2004"/>
                  </a:lnTo>
                  <a:lnTo>
                    <a:pt x="2234" y="2020"/>
                  </a:lnTo>
                  <a:lnTo>
                    <a:pt x="2215" y="1990"/>
                  </a:lnTo>
                  <a:lnTo>
                    <a:pt x="2173" y="1978"/>
                  </a:lnTo>
                  <a:lnTo>
                    <a:pt x="2126" y="1986"/>
                  </a:lnTo>
                  <a:lnTo>
                    <a:pt x="2106" y="2020"/>
                  </a:lnTo>
                  <a:lnTo>
                    <a:pt x="2046" y="2020"/>
                  </a:lnTo>
                  <a:lnTo>
                    <a:pt x="2008" y="2066"/>
                  </a:lnTo>
                  <a:lnTo>
                    <a:pt x="1977" y="2113"/>
                  </a:lnTo>
                  <a:lnTo>
                    <a:pt x="1943" y="2152"/>
                  </a:lnTo>
                  <a:lnTo>
                    <a:pt x="1912" y="2161"/>
                  </a:lnTo>
                  <a:lnTo>
                    <a:pt x="1900" y="2119"/>
                  </a:lnTo>
                  <a:lnTo>
                    <a:pt x="1931" y="2076"/>
                  </a:lnTo>
                  <a:lnTo>
                    <a:pt x="1921" y="2016"/>
                  </a:lnTo>
                  <a:lnTo>
                    <a:pt x="1887" y="1996"/>
                  </a:lnTo>
                  <a:lnTo>
                    <a:pt x="1829" y="2020"/>
                  </a:lnTo>
                  <a:lnTo>
                    <a:pt x="1776" y="2008"/>
                  </a:lnTo>
                  <a:lnTo>
                    <a:pt x="1763" y="2046"/>
                  </a:lnTo>
                  <a:lnTo>
                    <a:pt x="1719" y="2046"/>
                  </a:lnTo>
                  <a:lnTo>
                    <a:pt x="1679" y="2047"/>
                  </a:lnTo>
                  <a:lnTo>
                    <a:pt x="1654" y="2011"/>
                  </a:lnTo>
                  <a:lnTo>
                    <a:pt x="1585" y="2020"/>
                  </a:lnTo>
                  <a:lnTo>
                    <a:pt x="1557" y="2039"/>
                  </a:lnTo>
                  <a:lnTo>
                    <a:pt x="1550" y="1992"/>
                  </a:lnTo>
                  <a:lnTo>
                    <a:pt x="1501" y="1992"/>
                  </a:lnTo>
                  <a:lnTo>
                    <a:pt x="1482" y="1942"/>
                  </a:lnTo>
                  <a:lnTo>
                    <a:pt x="1444" y="1954"/>
                  </a:lnTo>
                  <a:lnTo>
                    <a:pt x="1409" y="1978"/>
                  </a:lnTo>
                  <a:lnTo>
                    <a:pt x="1382" y="1962"/>
                  </a:lnTo>
                  <a:lnTo>
                    <a:pt x="1366" y="1925"/>
                  </a:lnTo>
                  <a:lnTo>
                    <a:pt x="1352" y="1954"/>
                  </a:lnTo>
                  <a:lnTo>
                    <a:pt x="1311" y="1955"/>
                  </a:lnTo>
                  <a:lnTo>
                    <a:pt x="1299" y="1894"/>
                  </a:lnTo>
                  <a:lnTo>
                    <a:pt x="1267" y="1862"/>
                  </a:lnTo>
                  <a:lnTo>
                    <a:pt x="1223" y="1850"/>
                  </a:lnTo>
                  <a:lnTo>
                    <a:pt x="1168" y="1862"/>
                  </a:lnTo>
                  <a:lnTo>
                    <a:pt x="1158" y="1837"/>
                  </a:lnTo>
                  <a:lnTo>
                    <a:pt x="1168" y="1748"/>
                  </a:lnTo>
                  <a:lnTo>
                    <a:pt x="1076" y="1764"/>
                  </a:lnTo>
                  <a:lnTo>
                    <a:pt x="1058" y="1721"/>
                  </a:lnTo>
                  <a:lnTo>
                    <a:pt x="1017" y="1705"/>
                  </a:lnTo>
                  <a:lnTo>
                    <a:pt x="1009" y="1674"/>
                  </a:lnTo>
                  <a:lnTo>
                    <a:pt x="973" y="1674"/>
                  </a:lnTo>
                  <a:lnTo>
                    <a:pt x="955" y="1561"/>
                  </a:lnTo>
                  <a:lnTo>
                    <a:pt x="919" y="1564"/>
                  </a:lnTo>
                  <a:lnTo>
                    <a:pt x="894" y="1604"/>
                  </a:lnTo>
                  <a:lnTo>
                    <a:pt x="844" y="1595"/>
                  </a:lnTo>
                  <a:lnTo>
                    <a:pt x="856" y="1520"/>
                  </a:lnTo>
                  <a:lnTo>
                    <a:pt x="828" y="1525"/>
                  </a:lnTo>
                  <a:lnTo>
                    <a:pt x="813" y="1478"/>
                  </a:lnTo>
                  <a:lnTo>
                    <a:pt x="770" y="1454"/>
                  </a:lnTo>
                  <a:lnTo>
                    <a:pt x="741" y="1398"/>
                  </a:lnTo>
                  <a:lnTo>
                    <a:pt x="692" y="1371"/>
                  </a:lnTo>
                  <a:lnTo>
                    <a:pt x="691" y="1329"/>
                  </a:lnTo>
                  <a:lnTo>
                    <a:pt x="648" y="1306"/>
                  </a:lnTo>
                  <a:lnTo>
                    <a:pt x="600" y="1306"/>
                  </a:lnTo>
                  <a:lnTo>
                    <a:pt x="587" y="1275"/>
                  </a:lnTo>
                  <a:lnTo>
                    <a:pt x="546" y="1274"/>
                  </a:lnTo>
                  <a:lnTo>
                    <a:pt x="534" y="1213"/>
                  </a:lnTo>
                  <a:lnTo>
                    <a:pt x="484" y="1257"/>
                  </a:lnTo>
                  <a:lnTo>
                    <a:pt x="446" y="1293"/>
                  </a:lnTo>
                  <a:lnTo>
                    <a:pt x="404" y="1282"/>
                  </a:lnTo>
                  <a:lnTo>
                    <a:pt x="402" y="1231"/>
                  </a:lnTo>
                  <a:lnTo>
                    <a:pt x="367" y="1194"/>
                  </a:lnTo>
                  <a:lnTo>
                    <a:pt x="325" y="1157"/>
                  </a:lnTo>
                  <a:lnTo>
                    <a:pt x="279" y="1129"/>
                  </a:lnTo>
                  <a:lnTo>
                    <a:pt x="261" y="1086"/>
                  </a:lnTo>
                  <a:lnTo>
                    <a:pt x="225" y="1065"/>
                  </a:lnTo>
                  <a:lnTo>
                    <a:pt x="209" y="1023"/>
                  </a:lnTo>
                  <a:lnTo>
                    <a:pt x="169" y="1024"/>
                  </a:lnTo>
                  <a:lnTo>
                    <a:pt x="157" y="1000"/>
                  </a:lnTo>
                  <a:lnTo>
                    <a:pt x="122" y="1000"/>
                  </a:lnTo>
                  <a:lnTo>
                    <a:pt x="110" y="951"/>
                  </a:lnTo>
                  <a:lnTo>
                    <a:pt x="110" y="900"/>
                  </a:lnTo>
                  <a:lnTo>
                    <a:pt x="55" y="906"/>
                  </a:lnTo>
                  <a:lnTo>
                    <a:pt x="11" y="912"/>
                  </a:lnTo>
                  <a:lnTo>
                    <a:pt x="12" y="863"/>
                  </a:lnTo>
                  <a:lnTo>
                    <a:pt x="43" y="835"/>
                  </a:lnTo>
                  <a:lnTo>
                    <a:pt x="47" y="766"/>
                  </a:lnTo>
                  <a:lnTo>
                    <a:pt x="28" y="735"/>
                  </a:lnTo>
                  <a:lnTo>
                    <a:pt x="0" y="673"/>
                  </a:lnTo>
                  <a:lnTo>
                    <a:pt x="11" y="612"/>
                  </a:lnTo>
                  <a:lnTo>
                    <a:pt x="31" y="590"/>
                  </a:lnTo>
                  <a:lnTo>
                    <a:pt x="60" y="614"/>
                  </a:lnTo>
                  <a:lnTo>
                    <a:pt x="93" y="610"/>
                  </a:lnTo>
                  <a:lnTo>
                    <a:pt x="102" y="667"/>
                  </a:lnTo>
                  <a:lnTo>
                    <a:pt x="138" y="669"/>
                  </a:lnTo>
                  <a:lnTo>
                    <a:pt x="153" y="636"/>
                  </a:lnTo>
                  <a:lnTo>
                    <a:pt x="196" y="621"/>
                  </a:lnTo>
                  <a:lnTo>
                    <a:pt x="228" y="612"/>
                  </a:lnTo>
                  <a:lnTo>
                    <a:pt x="214" y="564"/>
                  </a:lnTo>
                  <a:lnTo>
                    <a:pt x="225" y="533"/>
                  </a:lnTo>
                  <a:lnTo>
                    <a:pt x="200" y="480"/>
                  </a:lnTo>
                  <a:lnTo>
                    <a:pt x="158" y="459"/>
                  </a:lnTo>
                  <a:lnTo>
                    <a:pt x="158" y="409"/>
                  </a:lnTo>
                  <a:lnTo>
                    <a:pt x="134" y="385"/>
                  </a:lnTo>
                  <a:lnTo>
                    <a:pt x="165" y="348"/>
                  </a:lnTo>
                  <a:lnTo>
                    <a:pt x="133" y="312"/>
                  </a:lnTo>
                  <a:lnTo>
                    <a:pt x="160" y="296"/>
                  </a:lnTo>
                  <a:lnTo>
                    <a:pt x="164" y="258"/>
                  </a:lnTo>
                  <a:lnTo>
                    <a:pt x="208" y="260"/>
                  </a:lnTo>
                  <a:lnTo>
                    <a:pt x="206" y="195"/>
                  </a:lnTo>
                  <a:lnTo>
                    <a:pt x="236" y="178"/>
                  </a:lnTo>
                  <a:lnTo>
                    <a:pt x="293" y="178"/>
                  </a:lnTo>
                  <a:lnTo>
                    <a:pt x="319" y="210"/>
                  </a:lnTo>
                  <a:lnTo>
                    <a:pt x="372" y="198"/>
                  </a:lnTo>
                  <a:lnTo>
                    <a:pt x="414" y="166"/>
                  </a:lnTo>
                  <a:lnTo>
                    <a:pt x="404" y="133"/>
                  </a:lnTo>
                  <a:lnTo>
                    <a:pt x="416" y="91"/>
                  </a:lnTo>
                  <a:lnTo>
                    <a:pt x="459" y="91"/>
                  </a:lnTo>
                  <a:lnTo>
                    <a:pt x="490" y="41"/>
                  </a:lnTo>
                  <a:lnTo>
                    <a:pt x="531" y="4"/>
                  </a:lnTo>
                  <a:lnTo>
                    <a:pt x="593" y="19"/>
                  </a:lnTo>
                  <a:lnTo>
                    <a:pt x="648" y="60"/>
                  </a:lnTo>
                  <a:lnTo>
                    <a:pt x="723" y="61"/>
                  </a:lnTo>
                  <a:lnTo>
                    <a:pt x="771" y="115"/>
                  </a:lnTo>
                  <a:lnTo>
                    <a:pt x="833" y="99"/>
                  </a:lnTo>
                  <a:lnTo>
                    <a:pt x="864" y="45"/>
                  </a:lnTo>
                  <a:lnTo>
                    <a:pt x="935" y="42"/>
                  </a:lnTo>
                  <a:lnTo>
                    <a:pt x="948" y="12"/>
                  </a:lnTo>
                  <a:lnTo>
                    <a:pt x="978" y="49"/>
                  </a:lnTo>
                  <a:lnTo>
                    <a:pt x="1023" y="42"/>
                  </a:lnTo>
                  <a:lnTo>
                    <a:pt x="1041" y="67"/>
                  </a:lnTo>
                  <a:lnTo>
                    <a:pt x="1125" y="61"/>
                  </a:lnTo>
                  <a:lnTo>
                    <a:pt x="1145" y="111"/>
                  </a:lnTo>
                  <a:lnTo>
                    <a:pt x="1175" y="145"/>
                  </a:lnTo>
                  <a:lnTo>
                    <a:pt x="1236" y="133"/>
                  </a:lnTo>
                  <a:lnTo>
                    <a:pt x="1266" y="165"/>
                  </a:lnTo>
                  <a:lnTo>
                    <a:pt x="1313" y="160"/>
                  </a:lnTo>
                  <a:lnTo>
                    <a:pt x="1328" y="129"/>
                  </a:lnTo>
                  <a:lnTo>
                    <a:pt x="1359" y="129"/>
                  </a:lnTo>
                  <a:lnTo>
                    <a:pt x="1386" y="105"/>
                  </a:lnTo>
                  <a:lnTo>
                    <a:pt x="1511" y="105"/>
                  </a:lnTo>
                  <a:lnTo>
                    <a:pt x="1550" y="129"/>
                  </a:lnTo>
                  <a:lnTo>
                    <a:pt x="1575" y="115"/>
                  </a:lnTo>
                  <a:lnTo>
                    <a:pt x="1616" y="115"/>
                  </a:lnTo>
                  <a:lnTo>
                    <a:pt x="1634" y="87"/>
                  </a:lnTo>
                  <a:lnTo>
                    <a:pt x="1661" y="70"/>
                  </a:lnTo>
                  <a:lnTo>
                    <a:pt x="1701" y="31"/>
                  </a:lnTo>
                  <a:lnTo>
                    <a:pt x="1734" y="48"/>
                  </a:lnTo>
                  <a:lnTo>
                    <a:pt x="1781" y="30"/>
                  </a:lnTo>
                  <a:lnTo>
                    <a:pt x="1866" y="34"/>
                  </a:lnTo>
                  <a:lnTo>
                    <a:pt x="1896" y="7"/>
                  </a:lnTo>
                  <a:lnTo>
                    <a:pt x="2015" y="0"/>
                  </a:lnTo>
                  <a:lnTo>
                    <a:pt x="2126" y="18"/>
                  </a:lnTo>
                  <a:lnTo>
                    <a:pt x="2136" y="58"/>
                  </a:lnTo>
                  <a:lnTo>
                    <a:pt x="2173" y="58"/>
                  </a:lnTo>
                  <a:lnTo>
                    <a:pt x="2292" y="133"/>
                  </a:lnTo>
                  <a:lnTo>
                    <a:pt x="2340" y="109"/>
                  </a:lnTo>
                  <a:lnTo>
                    <a:pt x="2369" y="124"/>
                  </a:lnTo>
                  <a:lnTo>
                    <a:pt x="2366" y="172"/>
                  </a:lnTo>
                  <a:lnTo>
                    <a:pt x="2293" y="186"/>
                  </a:lnTo>
                  <a:lnTo>
                    <a:pt x="2381" y="220"/>
                  </a:lnTo>
                  <a:lnTo>
                    <a:pt x="2375" y="275"/>
                  </a:lnTo>
                  <a:lnTo>
                    <a:pt x="2310" y="356"/>
                  </a:lnTo>
                  <a:lnTo>
                    <a:pt x="2324" y="468"/>
                  </a:lnTo>
                  <a:lnTo>
                    <a:pt x="2261" y="467"/>
                  </a:lnTo>
                  <a:lnTo>
                    <a:pt x="2261" y="589"/>
                  </a:lnTo>
                  <a:lnTo>
                    <a:pt x="2340" y="677"/>
                  </a:lnTo>
                  <a:lnTo>
                    <a:pt x="2339" y="741"/>
                  </a:lnTo>
                  <a:lnTo>
                    <a:pt x="2384" y="779"/>
                  </a:lnTo>
                  <a:lnTo>
                    <a:pt x="2394" y="872"/>
                  </a:lnTo>
                  <a:lnTo>
                    <a:pt x="2537" y="880"/>
                  </a:lnTo>
                  <a:lnTo>
                    <a:pt x="2589" y="924"/>
                  </a:lnTo>
                  <a:lnTo>
                    <a:pt x="2669" y="924"/>
                  </a:lnTo>
                  <a:lnTo>
                    <a:pt x="2779" y="1023"/>
                  </a:lnTo>
                  <a:lnTo>
                    <a:pt x="2865" y="1000"/>
                  </a:lnTo>
                  <a:lnTo>
                    <a:pt x="2905" y="1043"/>
                  </a:lnTo>
                  <a:lnTo>
                    <a:pt x="2971" y="1031"/>
                  </a:lnTo>
                  <a:lnTo>
                    <a:pt x="2988" y="1068"/>
                  </a:lnTo>
                  <a:lnTo>
                    <a:pt x="3092" y="1049"/>
                  </a:lnTo>
                  <a:lnTo>
                    <a:pt x="3135" y="1084"/>
                  </a:lnTo>
                  <a:lnTo>
                    <a:pt x="3254" y="1086"/>
                  </a:lnTo>
                  <a:lnTo>
                    <a:pt x="3388" y="1192"/>
                  </a:lnTo>
                  <a:lnTo>
                    <a:pt x="3406" y="1263"/>
                  </a:lnTo>
                  <a:lnTo>
                    <a:pt x="3498" y="1294"/>
                  </a:lnTo>
                  <a:lnTo>
                    <a:pt x="3551" y="1278"/>
                  </a:lnTo>
                  <a:lnTo>
                    <a:pt x="3627" y="1331"/>
                  </a:lnTo>
                  <a:lnTo>
                    <a:pt x="3664" y="1305"/>
                  </a:lnTo>
                  <a:lnTo>
                    <a:pt x="3666" y="1239"/>
                  </a:lnTo>
                  <a:lnTo>
                    <a:pt x="3714" y="1206"/>
                  </a:lnTo>
                  <a:lnTo>
                    <a:pt x="3737" y="1152"/>
                  </a:lnTo>
                  <a:lnTo>
                    <a:pt x="3729" y="1056"/>
                  </a:lnTo>
                  <a:lnTo>
                    <a:pt x="3793" y="1059"/>
                  </a:lnTo>
                  <a:lnTo>
                    <a:pt x="3864" y="1134"/>
                  </a:lnTo>
                  <a:lnTo>
                    <a:pt x="3941" y="1142"/>
                  </a:lnTo>
                  <a:lnTo>
                    <a:pt x="3973" y="1235"/>
                  </a:lnTo>
                  <a:lnTo>
                    <a:pt x="4021" y="1255"/>
                  </a:lnTo>
                  <a:lnTo>
                    <a:pt x="4000" y="1317"/>
                  </a:lnTo>
                  <a:lnTo>
                    <a:pt x="4093" y="1411"/>
                  </a:lnTo>
                  <a:lnTo>
                    <a:pt x="4033" y="1431"/>
                  </a:lnTo>
                  <a:lnTo>
                    <a:pt x="4038" y="1484"/>
                  </a:lnTo>
                  <a:lnTo>
                    <a:pt x="4089" y="1531"/>
                  </a:lnTo>
                  <a:lnTo>
                    <a:pt x="4081" y="1681"/>
                  </a:lnTo>
                  <a:lnTo>
                    <a:pt x="4118" y="1653"/>
                  </a:lnTo>
                  <a:lnTo>
                    <a:pt x="4114" y="1802"/>
                  </a:lnTo>
                  <a:lnTo>
                    <a:pt x="4103" y="1882"/>
                  </a:lnTo>
                  <a:lnTo>
                    <a:pt x="4046" y="1905"/>
                  </a:lnTo>
                  <a:lnTo>
                    <a:pt x="4049" y="1964"/>
                  </a:lnTo>
                  <a:lnTo>
                    <a:pt x="3986" y="1966"/>
                  </a:lnTo>
                  <a:lnTo>
                    <a:pt x="4008" y="2003"/>
                  </a:lnTo>
                  <a:lnTo>
                    <a:pt x="4013" y="2088"/>
                  </a:lnTo>
                  <a:lnTo>
                    <a:pt x="4000" y="2133"/>
                  </a:lnTo>
                  <a:lnTo>
                    <a:pt x="3928" y="2121"/>
                  </a:lnTo>
                  <a:lnTo>
                    <a:pt x="3879" y="216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0" name="Freeform 88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4341" y="1404"/>
              <a:ext cx="1218" cy="1068"/>
            </a:xfrm>
            <a:custGeom>
              <a:avLst/>
              <a:gdLst>
                <a:gd name="T0" fmla="*/ 546 w 4634"/>
                <a:gd name="T1" fmla="*/ 2829 h 4032"/>
                <a:gd name="T2" fmla="*/ 819 w 4634"/>
                <a:gd name="T3" fmla="*/ 2933 h 4032"/>
                <a:gd name="T4" fmla="*/ 1091 w 4634"/>
                <a:gd name="T5" fmla="*/ 3037 h 4032"/>
                <a:gd name="T6" fmla="*/ 1440 w 4634"/>
                <a:gd name="T7" fmla="*/ 3021 h 4032"/>
                <a:gd name="T8" fmla="*/ 2286 w 4634"/>
                <a:gd name="T9" fmla="*/ 2788 h 4032"/>
                <a:gd name="T10" fmla="*/ 2562 w 4634"/>
                <a:gd name="T11" fmla="*/ 2518 h 4032"/>
                <a:gd name="T12" fmla="*/ 2499 w 4634"/>
                <a:gd name="T13" fmla="*/ 2247 h 4032"/>
                <a:gd name="T14" fmla="*/ 2850 w 4634"/>
                <a:gd name="T15" fmla="*/ 2224 h 4032"/>
                <a:gd name="T16" fmla="*/ 3008 w 4634"/>
                <a:gd name="T17" fmla="*/ 2051 h 4032"/>
                <a:gd name="T18" fmla="*/ 3339 w 4634"/>
                <a:gd name="T19" fmla="*/ 1789 h 4032"/>
                <a:gd name="T20" fmla="*/ 3629 w 4634"/>
                <a:gd name="T21" fmla="*/ 1679 h 4032"/>
                <a:gd name="T22" fmla="*/ 3804 w 4634"/>
                <a:gd name="T23" fmla="*/ 1622 h 4032"/>
                <a:gd name="T24" fmla="*/ 3651 w 4634"/>
                <a:gd name="T25" fmla="*/ 1401 h 4032"/>
                <a:gd name="T26" fmla="*/ 3357 w 4634"/>
                <a:gd name="T27" fmla="*/ 1469 h 4032"/>
                <a:gd name="T28" fmla="*/ 3087 w 4634"/>
                <a:gd name="T29" fmla="*/ 1469 h 4032"/>
                <a:gd name="T30" fmla="*/ 3142 w 4634"/>
                <a:gd name="T31" fmla="*/ 1254 h 4032"/>
                <a:gd name="T32" fmla="*/ 3243 w 4634"/>
                <a:gd name="T33" fmla="*/ 1011 h 4032"/>
                <a:gd name="T34" fmla="*/ 3565 w 4634"/>
                <a:gd name="T35" fmla="*/ 889 h 4032"/>
                <a:gd name="T36" fmla="*/ 3602 w 4634"/>
                <a:gd name="T37" fmla="*/ 660 h 4032"/>
                <a:gd name="T38" fmla="*/ 3727 w 4634"/>
                <a:gd name="T39" fmla="*/ 374 h 4032"/>
                <a:gd name="T40" fmla="*/ 3610 w 4634"/>
                <a:gd name="T41" fmla="*/ 227 h 4032"/>
                <a:gd name="T42" fmla="*/ 3684 w 4634"/>
                <a:gd name="T43" fmla="*/ 55 h 4032"/>
                <a:gd name="T44" fmla="*/ 3794 w 4634"/>
                <a:gd name="T45" fmla="*/ 163 h 4032"/>
                <a:gd name="T46" fmla="*/ 4062 w 4634"/>
                <a:gd name="T47" fmla="*/ 300 h 4032"/>
                <a:gd name="T48" fmla="*/ 4358 w 4634"/>
                <a:gd name="T49" fmla="*/ 386 h 4032"/>
                <a:gd name="T50" fmla="*/ 4540 w 4634"/>
                <a:gd name="T51" fmla="*/ 605 h 4032"/>
                <a:gd name="T52" fmla="*/ 4509 w 4634"/>
                <a:gd name="T53" fmla="*/ 1064 h 4032"/>
                <a:gd name="T54" fmla="*/ 4338 w 4634"/>
                <a:gd name="T55" fmla="*/ 1273 h 4032"/>
                <a:gd name="T56" fmla="*/ 4432 w 4634"/>
                <a:gd name="T57" fmla="*/ 1532 h 4032"/>
                <a:gd name="T58" fmla="*/ 4234 w 4634"/>
                <a:gd name="T59" fmla="*/ 1826 h 4032"/>
                <a:gd name="T60" fmla="*/ 4466 w 4634"/>
                <a:gd name="T61" fmla="*/ 2047 h 4032"/>
                <a:gd name="T62" fmla="*/ 4632 w 4634"/>
                <a:gd name="T63" fmla="*/ 2345 h 4032"/>
                <a:gd name="T64" fmla="*/ 4340 w 4634"/>
                <a:gd name="T65" fmla="*/ 2567 h 4032"/>
                <a:gd name="T66" fmla="*/ 4019 w 4634"/>
                <a:gd name="T67" fmla="*/ 2696 h 4032"/>
                <a:gd name="T68" fmla="*/ 3780 w 4634"/>
                <a:gd name="T69" fmla="*/ 2923 h 4032"/>
                <a:gd name="T70" fmla="*/ 3572 w 4634"/>
                <a:gd name="T71" fmla="*/ 2672 h 4032"/>
                <a:gd name="T72" fmla="*/ 3283 w 4634"/>
                <a:gd name="T73" fmla="*/ 2868 h 4032"/>
                <a:gd name="T74" fmla="*/ 3046 w 4634"/>
                <a:gd name="T75" fmla="*/ 2886 h 4032"/>
                <a:gd name="T76" fmla="*/ 3053 w 4634"/>
                <a:gd name="T77" fmla="*/ 3193 h 4032"/>
                <a:gd name="T78" fmla="*/ 2666 w 4634"/>
                <a:gd name="T79" fmla="*/ 3387 h 4032"/>
                <a:gd name="T80" fmla="*/ 2378 w 4634"/>
                <a:gd name="T81" fmla="*/ 3542 h 4032"/>
                <a:gd name="T82" fmla="*/ 2201 w 4634"/>
                <a:gd name="T83" fmla="*/ 3738 h 4032"/>
                <a:gd name="T84" fmla="*/ 1984 w 4634"/>
                <a:gd name="T85" fmla="*/ 3932 h 4032"/>
                <a:gd name="T86" fmla="*/ 1708 w 4634"/>
                <a:gd name="T87" fmla="*/ 3860 h 4032"/>
                <a:gd name="T88" fmla="*/ 1692 w 4634"/>
                <a:gd name="T89" fmla="*/ 3570 h 4032"/>
                <a:gd name="T90" fmla="*/ 1518 w 4634"/>
                <a:gd name="T91" fmla="*/ 3879 h 4032"/>
                <a:gd name="T92" fmla="*/ 1177 w 4634"/>
                <a:gd name="T93" fmla="*/ 3975 h 4032"/>
                <a:gd name="T94" fmla="*/ 1199 w 4634"/>
                <a:gd name="T95" fmla="*/ 3730 h 4032"/>
                <a:gd name="T96" fmla="*/ 1018 w 4634"/>
                <a:gd name="T97" fmla="*/ 3621 h 4032"/>
                <a:gd name="T98" fmla="*/ 623 w 4634"/>
                <a:gd name="T99" fmla="*/ 3656 h 4032"/>
                <a:gd name="T100" fmla="*/ 435 w 4634"/>
                <a:gd name="T101" fmla="*/ 3481 h 4032"/>
                <a:gd name="T102" fmla="*/ 472 w 4634"/>
                <a:gd name="T103" fmla="*/ 3221 h 4032"/>
                <a:gd name="T104" fmla="*/ 102 w 4634"/>
                <a:gd name="T105" fmla="*/ 3223 h 4032"/>
                <a:gd name="T106" fmla="*/ 4 w 4634"/>
                <a:gd name="T107" fmla="*/ 2902 h 403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634"/>
                <a:gd name="T163" fmla="*/ 0 h 4032"/>
                <a:gd name="T164" fmla="*/ 4634 w 4634"/>
                <a:gd name="T165" fmla="*/ 4032 h 403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634" h="4032">
                  <a:moveTo>
                    <a:pt x="26" y="2816"/>
                  </a:moveTo>
                  <a:lnTo>
                    <a:pt x="193" y="2822"/>
                  </a:lnTo>
                  <a:lnTo>
                    <a:pt x="288" y="2843"/>
                  </a:lnTo>
                  <a:lnTo>
                    <a:pt x="384" y="2843"/>
                  </a:lnTo>
                  <a:lnTo>
                    <a:pt x="447" y="2835"/>
                  </a:lnTo>
                  <a:lnTo>
                    <a:pt x="546" y="2829"/>
                  </a:lnTo>
                  <a:lnTo>
                    <a:pt x="562" y="2862"/>
                  </a:lnTo>
                  <a:lnTo>
                    <a:pt x="629" y="2866"/>
                  </a:lnTo>
                  <a:lnTo>
                    <a:pt x="717" y="2862"/>
                  </a:lnTo>
                  <a:lnTo>
                    <a:pt x="789" y="2878"/>
                  </a:lnTo>
                  <a:lnTo>
                    <a:pt x="828" y="2898"/>
                  </a:lnTo>
                  <a:lnTo>
                    <a:pt x="819" y="2933"/>
                  </a:lnTo>
                  <a:lnTo>
                    <a:pt x="858" y="2941"/>
                  </a:lnTo>
                  <a:lnTo>
                    <a:pt x="924" y="2988"/>
                  </a:lnTo>
                  <a:lnTo>
                    <a:pt x="993" y="2984"/>
                  </a:lnTo>
                  <a:lnTo>
                    <a:pt x="1003" y="3009"/>
                  </a:lnTo>
                  <a:lnTo>
                    <a:pt x="1054" y="3007"/>
                  </a:lnTo>
                  <a:lnTo>
                    <a:pt x="1091" y="3037"/>
                  </a:lnTo>
                  <a:lnTo>
                    <a:pt x="1181" y="3039"/>
                  </a:lnTo>
                  <a:lnTo>
                    <a:pt x="1242" y="3019"/>
                  </a:lnTo>
                  <a:lnTo>
                    <a:pt x="1285" y="3021"/>
                  </a:lnTo>
                  <a:lnTo>
                    <a:pt x="1312" y="3092"/>
                  </a:lnTo>
                  <a:lnTo>
                    <a:pt x="1359" y="3082"/>
                  </a:lnTo>
                  <a:lnTo>
                    <a:pt x="1440" y="3021"/>
                  </a:lnTo>
                  <a:lnTo>
                    <a:pt x="1647" y="2929"/>
                  </a:lnTo>
                  <a:lnTo>
                    <a:pt x="1784" y="2868"/>
                  </a:lnTo>
                  <a:lnTo>
                    <a:pt x="1955" y="2853"/>
                  </a:lnTo>
                  <a:lnTo>
                    <a:pt x="2131" y="2855"/>
                  </a:lnTo>
                  <a:lnTo>
                    <a:pt x="2225" y="2798"/>
                  </a:lnTo>
                  <a:lnTo>
                    <a:pt x="2286" y="2788"/>
                  </a:lnTo>
                  <a:lnTo>
                    <a:pt x="2354" y="2719"/>
                  </a:lnTo>
                  <a:lnTo>
                    <a:pt x="2372" y="2670"/>
                  </a:lnTo>
                  <a:lnTo>
                    <a:pt x="2407" y="2623"/>
                  </a:lnTo>
                  <a:lnTo>
                    <a:pt x="2446" y="2586"/>
                  </a:lnTo>
                  <a:lnTo>
                    <a:pt x="2501" y="2565"/>
                  </a:lnTo>
                  <a:lnTo>
                    <a:pt x="2562" y="2518"/>
                  </a:lnTo>
                  <a:lnTo>
                    <a:pt x="2574" y="2486"/>
                  </a:lnTo>
                  <a:lnTo>
                    <a:pt x="2519" y="2433"/>
                  </a:lnTo>
                  <a:lnTo>
                    <a:pt x="2483" y="2388"/>
                  </a:lnTo>
                  <a:lnTo>
                    <a:pt x="2468" y="2310"/>
                  </a:lnTo>
                  <a:lnTo>
                    <a:pt x="2499" y="2302"/>
                  </a:lnTo>
                  <a:lnTo>
                    <a:pt x="2499" y="2247"/>
                  </a:lnTo>
                  <a:lnTo>
                    <a:pt x="2519" y="2204"/>
                  </a:lnTo>
                  <a:lnTo>
                    <a:pt x="2562" y="2179"/>
                  </a:lnTo>
                  <a:lnTo>
                    <a:pt x="2605" y="2186"/>
                  </a:lnTo>
                  <a:lnTo>
                    <a:pt x="2658" y="2228"/>
                  </a:lnTo>
                  <a:lnTo>
                    <a:pt x="2746" y="2237"/>
                  </a:lnTo>
                  <a:lnTo>
                    <a:pt x="2850" y="2224"/>
                  </a:lnTo>
                  <a:lnTo>
                    <a:pt x="2856" y="2192"/>
                  </a:lnTo>
                  <a:lnTo>
                    <a:pt x="2899" y="2194"/>
                  </a:lnTo>
                  <a:lnTo>
                    <a:pt x="2928" y="2157"/>
                  </a:lnTo>
                  <a:lnTo>
                    <a:pt x="2961" y="2139"/>
                  </a:lnTo>
                  <a:lnTo>
                    <a:pt x="2965" y="2083"/>
                  </a:lnTo>
                  <a:lnTo>
                    <a:pt x="3008" y="2051"/>
                  </a:lnTo>
                  <a:lnTo>
                    <a:pt x="3136" y="2051"/>
                  </a:lnTo>
                  <a:lnTo>
                    <a:pt x="3191" y="2004"/>
                  </a:lnTo>
                  <a:lnTo>
                    <a:pt x="3259" y="1961"/>
                  </a:lnTo>
                  <a:lnTo>
                    <a:pt x="3259" y="1851"/>
                  </a:lnTo>
                  <a:lnTo>
                    <a:pt x="3296" y="1824"/>
                  </a:lnTo>
                  <a:lnTo>
                    <a:pt x="3339" y="1789"/>
                  </a:lnTo>
                  <a:lnTo>
                    <a:pt x="3390" y="1789"/>
                  </a:lnTo>
                  <a:lnTo>
                    <a:pt x="3406" y="1757"/>
                  </a:lnTo>
                  <a:lnTo>
                    <a:pt x="3443" y="1722"/>
                  </a:lnTo>
                  <a:lnTo>
                    <a:pt x="3504" y="1722"/>
                  </a:lnTo>
                  <a:lnTo>
                    <a:pt x="3543" y="1671"/>
                  </a:lnTo>
                  <a:lnTo>
                    <a:pt x="3629" y="1679"/>
                  </a:lnTo>
                  <a:lnTo>
                    <a:pt x="3670" y="1642"/>
                  </a:lnTo>
                  <a:lnTo>
                    <a:pt x="3696" y="1679"/>
                  </a:lnTo>
                  <a:lnTo>
                    <a:pt x="3737" y="1683"/>
                  </a:lnTo>
                  <a:lnTo>
                    <a:pt x="3770" y="1677"/>
                  </a:lnTo>
                  <a:lnTo>
                    <a:pt x="3774" y="1648"/>
                  </a:lnTo>
                  <a:lnTo>
                    <a:pt x="3804" y="1622"/>
                  </a:lnTo>
                  <a:lnTo>
                    <a:pt x="3831" y="1597"/>
                  </a:lnTo>
                  <a:lnTo>
                    <a:pt x="3792" y="1563"/>
                  </a:lnTo>
                  <a:lnTo>
                    <a:pt x="3743" y="1511"/>
                  </a:lnTo>
                  <a:lnTo>
                    <a:pt x="3706" y="1456"/>
                  </a:lnTo>
                  <a:lnTo>
                    <a:pt x="3663" y="1446"/>
                  </a:lnTo>
                  <a:lnTo>
                    <a:pt x="3651" y="1401"/>
                  </a:lnTo>
                  <a:lnTo>
                    <a:pt x="3584" y="1403"/>
                  </a:lnTo>
                  <a:lnTo>
                    <a:pt x="3529" y="1358"/>
                  </a:lnTo>
                  <a:lnTo>
                    <a:pt x="3467" y="1352"/>
                  </a:lnTo>
                  <a:lnTo>
                    <a:pt x="3418" y="1395"/>
                  </a:lnTo>
                  <a:lnTo>
                    <a:pt x="3384" y="1432"/>
                  </a:lnTo>
                  <a:lnTo>
                    <a:pt x="3357" y="1469"/>
                  </a:lnTo>
                  <a:lnTo>
                    <a:pt x="3328" y="1432"/>
                  </a:lnTo>
                  <a:lnTo>
                    <a:pt x="3277" y="1428"/>
                  </a:lnTo>
                  <a:lnTo>
                    <a:pt x="3228" y="1465"/>
                  </a:lnTo>
                  <a:lnTo>
                    <a:pt x="3181" y="1440"/>
                  </a:lnTo>
                  <a:lnTo>
                    <a:pt x="3155" y="1481"/>
                  </a:lnTo>
                  <a:lnTo>
                    <a:pt x="3087" y="1469"/>
                  </a:lnTo>
                  <a:lnTo>
                    <a:pt x="3087" y="1434"/>
                  </a:lnTo>
                  <a:lnTo>
                    <a:pt x="3044" y="1391"/>
                  </a:lnTo>
                  <a:lnTo>
                    <a:pt x="3100" y="1377"/>
                  </a:lnTo>
                  <a:lnTo>
                    <a:pt x="3118" y="1364"/>
                  </a:lnTo>
                  <a:lnTo>
                    <a:pt x="3112" y="1262"/>
                  </a:lnTo>
                  <a:lnTo>
                    <a:pt x="3142" y="1254"/>
                  </a:lnTo>
                  <a:lnTo>
                    <a:pt x="3130" y="1193"/>
                  </a:lnTo>
                  <a:lnTo>
                    <a:pt x="3161" y="1138"/>
                  </a:lnTo>
                  <a:lnTo>
                    <a:pt x="3157" y="1027"/>
                  </a:lnTo>
                  <a:lnTo>
                    <a:pt x="3185" y="1023"/>
                  </a:lnTo>
                  <a:lnTo>
                    <a:pt x="3187" y="978"/>
                  </a:lnTo>
                  <a:lnTo>
                    <a:pt x="3243" y="1011"/>
                  </a:lnTo>
                  <a:lnTo>
                    <a:pt x="3314" y="1011"/>
                  </a:lnTo>
                  <a:lnTo>
                    <a:pt x="3363" y="1036"/>
                  </a:lnTo>
                  <a:lnTo>
                    <a:pt x="3400" y="1015"/>
                  </a:lnTo>
                  <a:lnTo>
                    <a:pt x="3445" y="948"/>
                  </a:lnTo>
                  <a:lnTo>
                    <a:pt x="3510" y="895"/>
                  </a:lnTo>
                  <a:lnTo>
                    <a:pt x="3565" y="889"/>
                  </a:lnTo>
                  <a:lnTo>
                    <a:pt x="3602" y="858"/>
                  </a:lnTo>
                  <a:lnTo>
                    <a:pt x="3608" y="807"/>
                  </a:lnTo>
                  <a:lnTo>
                    <a:pt x="3565" y="772"/>
                  </a:lnTo>
                  <a:lnTo>
                    <a:pt x="3572" y="705"/>
                  </a:lnTo>
                  <a:lnTo>
                    <a:pt x="3604" y="697"/>
                  </a:lnTo>
                  <a:lnTo>
                    <a:pt x="3602" y="660"/>
                  </a:lnTo>
                  <a:lnTo>
                    <a:pt x="3614" y="605"/>
                  </a:lnTo>
                  <a:lnTo>
                    <a:pt x="3645" y="558"/>
                  </a:lnTo>
                  <a:lnTo>
                    <a:pt x="3647" y="478"/>
                  </a:lnTo>
                  <a:lnTo>
                    <a:pt x="3672" y="460"/>
                  </a:lnTo>
                  <a:lnTo>
                    <a:pt x="3676" y="402"/>
                  </a:lnTo>
                  <a:lnTo>
                    <a:pt x="3727" y="374"/>
                  </a:lnTo>
                  <a:lnTo>
                    <a:pt x="3743" y="331"/>
                  </a:lnTo>
                  <a:lnTo>
                    <a:pt x="3733" y="276"/>
                  </a:lnTo>
                  <a:lnTo>
                    <a:pt x="3700" y="276"/>
                  </a:lnTo>
                  <a:lnTo>
                    <a:pt x="3706" y="221"/>
                  </a:lnTo>
                  <a:lnTo>
                    <a:pt x="3670" y="219"/>
                  </a:lnTo>
                  <a:lnTo>
                    <a:pt x="3610" y="227"/>
                  </a:lnTo>
                  <a:lnTo>
                    <a:pt x="3627" y="200"/>
                  </a:lnTo>
                  <a:lnTo>
                    <a:pt x="3621" y="153"/>
                  </a:lnTo>
                  <a:lnTo>
                    <a:pt x="3653" y="151"/>
                  </a:lnTo>
                  <a:lnTo>
                    <a:pt x="3657" y="92"/>
                  </a:lnTo>
                  <a:lnTo>
                    <a:pt x="3690" y="96"/>
                  </a:lnTo>
                  <a:lnTo>
                    <a:pt x="3684" y="55"/>
                  </a:lnTo>
                  <a:lnTo>
                    <a:pt x="3725" y="53"/>
                  </a:lnTo>
                  <a:lnTo>
                    <a:pt x="3725" y="22"/>
                  </a:lnTo>
                  <a:lnTo>
                    <a:pt x="3782" y="35"/>
                  </a:lnTo>
                  <a:lnTo>
                    <a:pt x="3804" y="0"/>
                  </a:lnTo>
                  <a:lnTo>
                    <a:pt x="3868" y="67"/>
                  </a:lnTo>
                  <a:lnTo>
                    <a:pt x="3794" y="163"/>
                  </a:lnTo>
                  <a:lnTo>
                    <a:pt x="3798" y="196"/>
                  </a:lnTo>
                  <a:lnTo>
                    <a:pt x="3843" y="225"/>
                  </a:lnTo>
                  <a:lnTo>
                    <a:pt x="3915" y="231"/>
                  </a:lnTo>
                  <a:lnTo>
                    <a:pt x="3970" y="184"/>
                  </a:lnTo>
                  <a:lnTo>
                    <a:pt x="4025" y="227"/>
                  </a:lnTo>
                  <a:lnTo>
                    <a:pt x="4062" y="300"/>
                  </a:lnTo>
                  <a:lnTo>
                    <a:pt x="4056" y="359"/>
                  </a:lnTo>
                  <a:lnTo>
                    <a:pt x="4142" y="441"/>
                  </a:lnTo>
                  <a:lnTo>
                    <a:pt x="4215" y="447"/>
                  </a:lnTo>
                  <a:lnTo>
                    <a:pt x="4272" y="415"/>
                  </a:lnTo>
                  <a:lnTo>
                    <a:pt x="4340" y="415"/>
                  </a:lnTo>
                  <a:lnTo>
                    <a:pt x="4358" y="386"/>
                  </a:lnTo>
                  <a:lnTo>
                    <a:pt x="4419" y="380"/>
                  </a:lnTo>
                  <a:lnTo>
                    <a:pt x="4432" y="319"/>
                  </a:lnTo>
                  <a:lnTo>
                    <a:pt x="4487" y="304"/>
                  </a:lnTo>
                  <a:lnTo>
                    <a:pt x="4628" y="404"/>
                  </a:lnTo>
                  <a:lnTo>
                    <a:pt x="4597" y="527"/>
                  </a:lnTo>
                  <a:lnTo>
                    <a:pt x="4540" y="605"/>
                  </a:lnTo>
                  <a:lnTo>
                    <a:pt x="4536" y="697"/>
                  </a:lnTo>
                  <a:lnTo>
                    <a:pt x="4540" y="790"/>
                  </a:lnTo>
                  <a:lnTo>
                    <a:pt x="4577" y="815"/>
                  </a:lnTo>
                  <a:lnTo>
                    <a:pt x="4589" y="846"/>
                  </a:lnTo>
                  <a:lnTo>
                    <a:pt x="4509" y="948"/>
                  </a:lnTo>
                  <a:lnTo>
                    <a:pt x="4509" y="1064"/>
                  </a:lnTo>
                  <a:lnTo>
                    <a:pt x="4534" y="1097"/>
                  </a:lnTo>
                  <a:lnTo>
                    <a:pt x="4509" y="1127"/>
                  </a:lnTo>
                  <a:lnTo>
                    <a:pt x="4450" y="1083"/>
                  </a:lnTo>
                  <a:lnTo>
                    <a:pt x="4432" y="1119"/>
                  </a:lnTo>
                  <a:lnTo>
                    <a:pt x="4332" y="1226"/>
                  </a:lnTo>
                  <a:lnTo>
                    <a:pt x="4338" y="1273"/>
                  </a:lnTo>
                  <a:lnTo>
                    <a:pt x="4246" y="1334"/>
                  </a:lnTo>
                  <a:lnTo>
                    <a:pt x="4240" y="1379"/>
                  </a:lnTo>
                  <a:lnTo>
                    <a:pt x="4266" y="1426"/>
                  </a:lnTo>
                  <a:lnTo>
                    <a:pt x="4375" y="1501"/>
                  </a:lnTo>
                  <a:lnTo>
                    <a:pt x="4438" y="1475"/>
                  </a:lnTo>
                  <a:lnTo>
                    <a:pt x="4432" y="1532"/>
                  </a:lnTo>
                  <a:lnTo>
                    <a:pt x="4368" y="1573"/>
                  </a:lnTo>
                  <a:lnTo>
                    <a:pt x="4368" y="1654"/>
                  </a:lnTo>
                  <a:lnTo>
                    <a:pt x="4328" y="1757"/>
                  </a:lnTo>
                  <a:lnTo>
                    <a:pt x="4193" y="1738"/>
                  </a:lnTo>
                  <a:lnTo>
                    <a:pt x="4172" y="1799"/>
                  </a:lnTo>
                  <a:lnTo>
                    <a:pt x="4234" y="1826"/>
                  </a:lnTo>
                  <a:lnTo>
                    <a:pt x="4276" y="1900"/>
                  </a:lnTo>
                  <a:lnTo>
                    <a:pt x="4270" y="2026"/>
                  </a:lnTo>
                  <a:lnTo>
                    <a:pt x="4334" y="2077"/>
                  </a:lnTo>
                  <a:lnTo>
                    <a:pt x="4332" y="2145"/>
                  </a:lnTo>
                  <a:lnTo>
                    <a:pt x="4375" y="2143"/>
                  </a:lnTo>
                  <a:lnTo>
                    <a:pt x="4466" y="2047"/>
                  </a:lnTo>
                  <a:lnTo>
                    <a:pt x="4528" y="2118"/>
                  </a:lnTo>
                  <a:lnTo>
                    <a:pt x="4571" y="2198"/>
                  </a:lnTo>
                  <a:lnTo>
                    <a:pt x="4552" y="2261"/>
                  </a:lnTo>
                  <a:lnTo>
                    <a:pt x="4583" y="2286"/>
                  </a:lnTo>
                  <a:lnTo>
                    <a:pt x="4634" y="2298"/>
                  </a:lnTo>
                  <a:lnTo>
                    <a:pt x="4632" y="2345"/>
                  </a:lnTo>
                  <a:lnTo>
                    <a:pt x="4565" y="2439"/>
                  </a:lnTo>
                  <a:lnTo>
                    <a:pt x="4522" y="2467"/>
                  </a:lnTo>
                  <a:lnTo>
                    <a:pt x="4438" y="2445"/>
                  </a:lnTo>
                  <a:lnTo>
                    <a:pt x="4438" y="2504"/>
                  </a:lnTo>
                  <a:lnTo>
                    <a:pt x="4375" y="2498"/>
                  </a:lnTo>
                  <a:lnTo>
                    <a:pt x="4340" y="2567"/>
                  </a:lnTo>
                  <a:lnTo>
                    <a:pt x="4289" y="2559"/>
                  </a:lnTo>
                  <a:lnTo>
                    <a:pt x="4217" y="2621"/>
                  </a:lnTo>
                  <a:lnTo>
                    <a:pt x="4119" y="2725"/>
                  </a:lnTo>
                  <a:lnTo>
                    <a:pt x="4095" y="2780"/>
                  </a:lnTo>
                  <a:lnTo>
                    <a:pt x="4052" y="2786"/>
                  </a:lnTo>
                  <a:lnTo>
                    <a:pt x="4019" y="2696"/>
                  </a:lnTo>
                  <a:lnTo>
                    <a:pt x="3954" y="2663"/>
                  </a:lnTo>
                  <a:lnTo>
                    <a:pt x="3927" y="2672"/>
                  </a:lnTo>
                  <a:lnTo>
                    <a:pt x="3935" y="2770"/>
                  </a:lnTo>
                  <a:lnTo>
                    <a:pt x="3970" y="2878"/>
                  </a:lnTo>
                  <a:lnTo>
                    <a:pt x="3909" y="2927"/>
                  </a:lnTo>
                  <a:lnTo>
                    <a:pt x="3780" y="2923"/>
                  </a:lnTo>
                  <a:lnTo>
                    <a:pt x="3757" y="2868"/>
                  </a:lnTo>
                  <a:lnTo>
                    <a:pt x="3702" y="2813"/>
                  </a:lnTo>
                  <a:lnTo>
                    <a:pt x="3702" y="2745"/>
                  </a:lnTo>
                  <a:lnTo>
                    <a:pt x="3651" y="2721"/>
                  </a:lnTo>
                  <a:lnTo>
                    <a:pt x="3629" y="2651"/>
                  </a:lnTo>
                  <a:lnTo>
                    <a:pt x="3572" y="2672"/>
                  </a:lnTo>
                  <a:lnTo>
                    <a:pt x="3553" y="2696"/>
                  </a:lnTo>
                  <a:lnTo>
                    <a:pt x="3494" y="2713"/>
                  </a:lnTo>
                  <a:lnTo>
                    <a:pt x="3482" y="2819"/>
                  </a:lnTo>
                  <a:lnTo>
                    <a:pt x="3388" y="2819"/>
                  </a:lnTo>
                  <a:lnTo>
                    <a:pt x="3359" y="2862"/>
                  </a:lnTo>
                  <a:lnTo>
                    <a:pt x="3283" y="2868"/>
                  </a:lnTo>
                  <a:lnTo>
                    <a:pt x="3218" y="2941"/>
                  </a:lnTo>
                  <a:lnTo>
                    <a:pt x="3138" y="2941"/>
                  </a:lnTo>
                  <a:lnTo>
                    <a:pt x="3142" y="2872"/>
                  </a:lnTo>
                  <a:lnTo>
                    <a:pt x="3114" y="2837"/>
                  </a:lnTo>
                  <a:lnTo>
                    <a:pt x="3069" y="2831"/>
                  </a:lnTo>
                  <a:lnTo>
                    <a:pt x="3046" y="2886"/>
                  </a:lnTo>
                  <a:lnTo>
                    <a:pt x="3034" y="2939"/>
                  </a:lnTo>
                  <a:lnTo>
                    <a:pt x="2991" y="2982"/>
                  </a:lnTo>
                  <a:lnTo>
                    <a:pt x="2997" y="3056"/>
                  </a:lnTo>
                  <a:lnTo>
                    <a:pt x="2971" y="3082"/>
                  </a:lnTo>
                  <a:lnTo>
                    <a:pt x="3028" y="3131"/>
                  </a:lnTo>
                  <a:lnTo>
                    <a:pt x="3053" y="3193"/>
                  </a:lnTo>
                  <a:lnTo>
                    <a:pt x="2946" y="3258"/>
                  </a:lnTo>
                  <a:lnTo>
                    <a:pt x="2838" y="3254"/>
                  </a:lnTo>
                  <a:lnTo>
                    <a:pt x="2795" y="3307"/>
                  </a:lnTo>
                  <a:lnTo>
                    <a:pt x="2726" y="3313"/>
                  </a:lnTo>
                  <a:lnTo>
                    <a:pt x="2703" y="3358"/>
                  </a:lnTo>
                  <a:lnTo>
                    <a:pt x="2666" y="3387"/>
                  </a:lnTo>
                  <a:lnTo>
                    <a:pt x="2673" y="3456"/>
                  </a:lnTo>
                  <a:lnTo>
                    <a:pt x="2591" y="3460"/>
                  </a:lnTo>
                  <a:lnTo>
                    <a:pt x="2525" y="3505"/>
                  </a:lnTo>
                  <a:lnTo>
                    <a:pt x="2489" y="3503"/>
                  </a:lnTo>
                  <a:lnTo>
                    <a:pt x="2433" y="3566"/>
                  </a:lnTo>
                  <a:lnTo>
                    <a:pt x="2378" y="3542"/>
                  </a:lnTo>
                  <a:lnTo>
                    <a:pt x="2329" y="3554"/>
                  </a:lnTo>
                  <a:lnTo>
                    <a:pt x="2346" y="3589"/>
                  </a:lnTo>
                  <a:lnTo>
                    <a:pt x="2303" y="3609"/>
                  </a:lnTo>
                  <a:lnTo>
                    <a:pt x="2290" y="3699"/>
                  </a:lnTo>
                  <a:lnTo>
                    <a:pt x="2248" y="3736"/>
                  </a:lnTo>
                  <a:lnTo>
                    <a:pt x="2201" y="3738"/>
                  </a:lnTo>
                  <a:lnTo>
                    <a:pt x="2207" y="3781"/>
                  </a:lnTo>
                  <a:lnTo>
                    <a:pt x="2145" y="3848"/>
                  </a:lnTo>
                  <a:lnTo>
                    <a:pt x="2090" y="3909"/>
                  </a:lnTo>
                  <a:lnTo>
                    <a:pt x="2076" y="3956"/>
                  </a:lnTo>
                  <a:lnTo>
                    <a:pt x="2027" y="3963"/>
                  </a:lnTo>
                  <a:lnTo>
                    <a:pt x="1984" y="3932"/>
                  </a:lnTo>
                  <a:lnTo>
                    <a:pt x="1937" y="3950"/>
                  </a:lnTo>
                  <a:lnTo>
                    <a:pt x="1898" y="3969"/>
                  </a:lnTo>
                  <a:lnTo>
                    <a:pt x="1870" y="3966"/>
                  </a:lnTo>
                  <a:lnTo>
                    <a:pt x="1861" y="3917"/>
                  </a:lnTo>
                  <a:lnTo>
                    <a:pt x="1814" y="3865"/>
                  </a:lnTo>
                  <a:lnTo>
                    <a:pt x="1708" y="3860"/>
                  </a:lnTo>
                  <a:lnTo>
                    <a:pt x="1677" y="3818"/>
                  </a:lnTo>
                  <a:lnTo>
                    <a:pt x="1716" y="3726"/>
                  </a:lnTo>
                  <a:lnTo>
                    <a:pt x="1759" y="3658"/>
                  </a:lnTo>
                  <a:lnTo>
                    <a:pt x="1729" y="3646"/>
                  </a:lnTo>
                  <a:lnTo>
                    <a:pt x="1722" y="3577"/>
                  </a:lnTo>
                  <a:lnTo>
                    <a:pt x="1692" y="3570"/>
                  </a:lnTo>
                  <a:lnTo>
                    <a:pt x="1673" y="3595"/>
                  </a:lnTo>
                  <a:lnTo>
                    <a:pt x="1622" y="3601"/>
                  </a:lnTo>
                  <a:lnTo>
                    <a:pt x="1579" y="3640"/>
                  </a:lnTo>
                  <a:lnTo>
                    <a:pt x="1557" y="3717"/>
                  </a:lnTo>
                  <a:lnTo>
                    <a:pt x="1545" y="3836"/>
                  </a:lnTo>
                  <a:lnTo>
                    <a:pt x="1518" y="3879"/>
                  </a:lnTo>
                  <a:lnTo>
                    <a:pt x="1428" y="3958"/>
                  </a:lnTo>
                  <a:lnTo>
                    <a:pt x="1396" y="4007"/>
                  </a:lnTo>
                  <a:lnTo>
                    <a:pt x="1304" y="4030"/>
                  </a:lnTo>
                  <a:lnTo>
                    <a:pt x="1224" y="4032"/>
                  </a:lnTo>
                  <a:lnTo>
                    <a:pt x="1189" y="4020"/>
                  </a:lnTo>
                  <a:lnTo>
                    <a:pt x="1177" y="3975"/>
                  </a:lnTo>
                  <a:lnTo>
                    <a:pt x="1122" y="3971"/>
                  </a:lnTo>
                  <a:lnTo>
                    <a:pt x="1128" y="3848"/>
                  </a:lnTo>
                  <a:lnTo>
                    <a:pt x="1159" y="3818"/>
                  </a:lnTo>
                  <a:lnTo>
                    <a:pt x="1205" y="3809"/>
                  </a:lnTo>
                  <a:lnTo>
                    <a:pt x="1214" y="3766"/>
                  </a:lnTo>
                  <a:lnTo>
                    <a:pt x="1199" y="3730"/>
                  </a:lnTo>
                  <a:lnTo>
                    <a:pt x="1226" y="3675"/>
                  </a:lnTo>
                  <a:lnTo>
                    <a:pt x="1201" y="3615"/>
                  </a:lnTo>
                  <a:lnTo>
                    <a:pt x="1159" y="3572"/>
                  </a:lnTo>
                  <a:lnTo>
                    <a:pt x="1097" y="3589"/>
                  </a:lnTo>
                  <a:lnTo>
                    <a:pt x="1052" y="3597"/>
                  </a:lnTo>
                  <a:lnTo>
                    <a:pt x="1018" y="3621"/>
                  </a:lnTo>
                  <a:lnTo>
                    <a:pt x="985" y="3668"/>
                  </a:lnTo>
                  <a:lnTo>
                    <a:pt x="911" y="3677"/>
                  </a:lnTo>
                  <a:lnTo>
                    <a:pt x="844" y="3719"/>
                  </a:lnTo>
                  <a:lnTo>
                    <a:pt x="772" y="3695"/>
                  </a:lnTo>
                  <a:lnTo>
                    <a:pt x="680" y="3677"/>
                  </a:lnTo>
                  <a:lnTo>
                    <a:pt x="623" y="3656"/>
                  </a:lnTo>
                  <a:lnTo>
                    <a:pt x="623" y="3570"/>
                  </a:lnTo>
                  <a:lnTo>
                    <a:pt x="574" y="3552"/>
                  </a:lnTo>
                  <a:lnTo>
                    <a:pt x="519" y="3566"/>
                  </a:lnTo>
                  <a:lnTo>
                    <a:pt x="513" y="3530"/>
                  </a:lnTo>
                  <a:lnTo>
                    <a:pt x="484" y="3499"/>
                  </a:lnTo>
                  <a:lnTo>
                    <a:pt x="435" y="3481"/>
                  </a:lnTo>
                  <a:lnTo>
                    <a:pt x="435" y="3425"/>
                  </a:lnTo>
                  <a:lnTo>
                    <a:pt x="478" y="3389"/>
                  </a:lnTo>
                  <a:lnTo>
                    <a:pt x="537" y="3364"/>
                  </a:lnTo>
                  <a:lnTo>
                    <a:pt x="533" y="3301"/>
                  </a:lnTo>
                  <a:lnTo>
                    <a:pt x="515" y="3258"/>
                  </a:lnTo>
                  <a:lnTo>
                    <a:pt x="472" y="3221"/>
                  </a:lnTo>
                  <a:lnTo>
                    <a:pt x="405" y="3233"/>
                  </a:lnTo>
                  <a:lnTo>
                    <a:pt x="347" y="3221"/>
                  </a:lnTo>
                  <a:lnTo>
                    <a:pt x="292" y="3233"/>
                  </a:lnTo>
                  <a:lnTo>
                    <a:pt x="200" y="3309"/>
                  </a:lnTo>
                  <a:lnTo>
                    <a:pt x="157" y="3309"/>
                  </a:lnTo>
                  <a:lnTo>
                    <a:pt x="102" y="3223"/>
                  </a:lnTo>
                  <a:lnTo>
                    <a:pt x="49" y="3205"/>
                  </a:lnTo>
                  <a:lnTo>
                    <a:pt x="12" y="3113"/>
                  </a:lnTo>
                  <a:lnTo>
                    <a:pt x="0" y="3045"/>
                  </a:lnTo>
                  <a:lnTo>
                    <a:pt x="29" y="3013"/>
                  </a:lnTo>
                  <a:lnTo>
                    <a:pt x="31" y="2911"/>
                  </a:lnTo>
                  <a:lnTo>
                    <a:pt x="4" y="2902"/>
                  </a:lnTo>
                  <a:lnTo>
                    <a:pt x="4" y="2855"/>
                  </a:lnTo>
                  <a:lnTo>
                    <a:pt x="26" y="2816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1" name="Freeform 89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294" y="2969"/>
              <a:ext cx="501" cy="516"/>
            </a:xfrm>
            <a:custGeom>
              <a:avLst/>
              <a:gdLst>
                <a:gd name="T0" fmla="*/ 1715 w 1900"/>
                <a:gd name="T1" fmla="*/ 1416 h 1943"/>
                <a:gd name="T2" fmla="*/ 1650 w 1900"/>
                <a:gd name="T3" fmla="*/ 1459 h 1943"/>
                <a:gd name="T4" fmla="*/ 1595 w 1900"/>
                <a:gd name="T5" fmla="*/ 1520 h 1943"/>
                <a:gd name="T6" fmla="*/ 1531 w 1900"/>
                <a:gd name="T7" fmla="*/ 1581 h 1943"/>
                <a:gd name="T8" fmla="*/ 1421 w 1900"/>
                <a:gd name="T9" fmla="*/ 1604 h 1943"/>
                <a:gd name="T10" fmla="*/ 1299 w 1900"/>
                <a:gd name="T11" fmla="*/ 1592 h 1943"/>
                <a:gd name="T12" fmla="*/ 1232 w 1900"/>
                <a:gd name="T13" fmla="*/ 1598 h 1943"/>
                <a:gd name="T14" fmla="*/ 1184 w 1900"/>
                <a:gd name="T15" fmla="*/ 1610 h 1943"/>
                <a:gd name="T16" fmla="*/ 1062 w 1900"/>
                <a:gd name="T17" fmla="*/ 1573 h 1943"/>
                <a:gd name="T18" fmla="*/ 962 w 1900"/>
                <a:gd name="T19" fmla="*/ 1660 h 1943"/>
                <a:gd name="T20" fmla="*/ 878 w 1900"/>
                <a:gd name="T21" fmla="*/ 1726 h 1943"/>
                <a:gd name="T22" fmla="*/ 913 w 1900"/>
                <a:gd name="T23" fmla="*/ 1851 h 1943"/>
                <a:gd name="T24" fmla="*/ 866 w 1900"/>
                <a:gd name="T25" fmla="*/ 1912 h 1943"/>
                <a:gd name="T26" fmla="*/ 798 w 1900"/>
                <a:gd name="T27" fmla="*/ 1898 h 1943"/>
                <a:gd name="T28" fmla="*/ 753 w 1900"/>
                <a:gd name="T29" fmla="*/ 1818 h 1943"/>
                <a:gd name="T30" fmla="*/ 657 w 1900"/>
                <a:gd name="T31" fmla="*/ 1879 h 1943"/>
                <a:gd name="T32" fmla="*/ 547 w 1900"/>
                <a:gd name="T33" fmla="*/ 1825 h 1943"/>
                <a:gd name="T34" fmla="*/ 504 w 1900"/>
                <a:gd name="T35" fmla="*/ 1726 h 1943"/>
                <a:gd name="T36" fmla="*/ 370 w 1900"/>
                <a:gd name="T37" fmla="*/ 1691 h 1943"/>
                <a:gd name="T38" fmla="*/ 411 w 1900"/>
                <a:gd name="T39" fmla="*/ 1593 h 1943"/>
                <a:gd name="T40" fmla="*/ 435 w 1900"/>
                <a:gd name="T41" fmla="*/ 1500 h 1943"/>
                <a:gd name="T42" fmla="*/ 374 w 1900"/>
                <a:gd name="T43" fmla="*/ 1457 h 1943"/>
                <a:gd name="T44" fmla="*/ 282 w 1900"/>
                <a:gd name="T45" fmla="*/ 1385 h 1943"/>
                <a:gd name="T46" fmla="*/ 266 w 1900"/>
                <a:gd name="T47" fmla="*/ 1287 h 1943"/>
                <a:gd name="T48" fmla="*/ 257 w 1900"/>
                <a:gd name="T49" fmla="*/ 1248 h 1943"/>
                <a:gd name="T50" fmla="*/ 130 w 1900"/>
                <a:gd name="T51" fmla="*/ 1226 h 1943"/>
                <a:gd name="T52" fmla="*/ 61 w 1900"/>
                <a:gd name="T53" fmla="*/ 1282 h 1943"/>
                <a:gd name="T54" fmla="*/ 43 w 1900"/>
                <a:gd name="T55" fmla="*/ 1202 h 1943"/>
                <a:gd name="T56" fmla="*/ 3 w 1900"/>
                <a:gd name="T57" fmla="*/ 1095 h 1943"/>
                <a:gd name="T58" fmla="*/ 61 w 1900"/>
                <a:gd name="T59" fmla="*/ 1065 h 1943"/>
                <a:gd name="T60" fmla="*/ 137 w 1900"/>
                <a:gd name="T61" fmla="*/ 925 h 1943"/>
                <a:gd name="T62" fmla="*/ 251 w 1900"/>
                <a:gd name="T63" fmla="*/ 856 h 1943"/>
                <a:gd name="T64" fmla="*/ 253 w 1900"/>
                <a:gd name="T65" fmla="*/ 806 h 1943"/>
                <a:gd name="T66" fmla="*/ 271 w 1900"/>
                <a:gd name="T67" fmla="*/ 680 h 1943"/>
                <a:gd name="T68" fmla="*/ 275 w 1900"/>
                <a:gd name="T69" fmla="*/ 568 h 1943"/>
                <a:gd name="T70" fmla="*/ 257 w 1900"/>
                <a:gd name="T71" fmla="*/ 411 h 1943"/>
                <a:gd name="T72" fmla="*/ 180 w 1900"/>
                <a:gd name="T73" fmla="*/ 371 h 1943"/>
                <a:gd name="T74" fmla="*/ 151 w 1900"/>
                <a:gd name="T75" fmla="*/ 279 h 1943"/>
                <a:gd name="T76" fmla="*/ 283 w 1900"/>
                <a:gd name="T77" fmla="*/ 207 h 1943"/>
                <a:gd name="T78" fmla="*/ 319 w 1900"/>
                <a:gd name="T79" fmla="*/ 83 h 1943"/>
                <a:gd name="T80" fmla="*/ 376 w 1900"/>
                <a:gd name="T81" fmla="*/ 162 h 1943"/>
                <a:gd name="T82" fmla="*/ 496 w 1900"/>
                <a:gd name="T83" fmla="*/ 249 h 1943"/>
                <a:gd name="T84" fmla="*/ 576 w 1900"/>
                <a:gd name="T85" fmla="*/ 256 h 1943"/>
                <a:gd name="T86" fmla="*/ 700 w 1900"/>
                <a:gd name="T87" fmla="*/ 348 h 1943"/>
                <a:gd name="T88" fmla="*/ 828 w 1900"/>
                <a:gd name="T89" fmla="*/ 595 h 1943"/>
                <a:gd name="T90" fmla="*/ 1017 w 1900"/>
                <a:gd name="T91" fmla="*/ 785 h 1943"/>
                <a:gd name="T92" fmla="*/ 1183 w 1900"/>
                <a:gd name="T93" fmla="*/ 740 h 1943"/>
                <a:gd name="T94" fmla="*/ 1167 w 1900"/>
                <a:gd name="T95" fmla="*/ 567 h 1943"/>
                <a:gd name="T96" fmla="*/ 1295 w 1900"/>
                <a:gd name="T97" fmla="*/ 286 h 1943"/>
                <a:gd name="T98" fmla="*/ 1473 w 1900"/>
                <a:gd name="T99" fmla="*/ 186 h 1943"/>
                <a:gd name="T100" fmla="*/ 1638 w 1900"/>
                <a:gd name="T101" fmla="*/ 307 h 1943"/>
                <a:gd name="T102" fmla="*/ 1674 w 1900"/>
                <a:gd name="T103" fmla="*/ 442 h 1943"/>
                <a:gd name="T104" fmla="*/ 1450 w 1900"/>
                <a:gd name="T105" fmla="*/ 466 h 1943"/>
                <a:gd name="T106" fmla="*/ 1509 w 1900"/>
                <a:gd name="T107" fmla="*/ 645 h 1943"/>
                <a:gd name="T108" fmla="*/ 1493 w 1900"/>
                <a:gd name="T109" fmla="*/ 937 h 1943"/>
                <a:gd name="T110" fmla="*/ 1519 w 1900"/>
                <a:gd name="T111" fmla="*/ 1091 h 1943"/>
                <a:gd name="T112" fmla="*/ 1678 w 1900"/>
                <a:gd name="T113" fmla="*/ 1236 h 1943"/>
                <a:gd name="T114" fmla="*/ 1865 w 1900"/>
                <a:gd name="T115" fmla="*/ 1246 h 1943"/>
                <a:gd name="T116" fmla="*/ 1821 w 1900"/>
                <a:gd name="T117" fmla="*/ 1379 h 194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900"/>
                <a:gd name="T178" fmla="*/ 0 h 1943"/>
                <a:gd name="T179" fmla="*/ 1900 w 1900"/>
                <a:gd name="T180" fmla="*/ 1943 h 194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900" h="1943">
                  <a:moveTo>
                    <a:pt x="1777" y="1440"/>
                  </a:moveTo>
                  <a:lnTo>
                    <a:pt x="1728" y="1440"/>
                  </a:lnTo>
                  <a:lnTo>
                    <a:pt x="1715" y="1416"/>
                  </a:lnTo>
                  <a:lnTo>
                    <a:pt x="1687" y="1420"/>
                  </a:lnTo>
                  <a:lnTo>
                    <a:pt x="1680" y="1457"/>
                  </a:lnTo>
                  <a:lnTo>
                    <a:pt x="1650" y="1459"/>
                  </a:lnTo>
                  <a:lnTo>
                    <a:pt x="1645" y="1488"/>
                  </a:lnTo>
                  <a:lnTo>
                    <a:pt x="1618" y="1489"/>
                  </a:lnTo>
                  <a:lnTo>
                    <a:pt x="1595" y="1520"/>
                  </a:lnTo>
                  <a:lnTo>
                    <a:pt x="1605" y="1561"/>
                  </a:lnTo>
                  <a:lnTo>
                    <a:pt x="1550" y="1554"/>
                  </a:lnTo>
                  <a:lnTo>
                    <a:pt x="1531" y="1581"/>
                  </a:lnTo>
                  <a:lnTo>
                    <a:pt x="1490" y="1585"/>
                  </a:lnTo>
                  <a:lnTo>
                    <a:pt x="1460" y="1554"/>
                  </a:lnTo>
                  <a:lnTo>
                    <a:pt x="1421" y="1604"/>
                  </a:lnTo>
                  <a:lnTo>
                    <a:pt x="1381" y="1610"/>
                  </a:lnTo>
                  <a:lnTo>
                    <a:pt x="1362" y="1581"/>
                  </a:lnTo>
                  <a:lnTo>
                    <a:pt x="1299" y="1592"/>
                  </a:lnTo>
                  <a:lnTo>
                    <a:pt x="1283" y="1550"/>
                  </a:lnTo>
                  <a:lnTo>
                    <a:pt x="1264" y="1585"/>
                  </a:lnTo>
                  <a:lnTo>
                    <a:pt x="1232" y="1598"/>
                  </a:lnTo>
                  <a:lnTo>
                    <a:pt x="1225" y="1656"/>
                  </a:lnTo>
                  <a:lnTo>
                    <a:pt x="1184" y="1661"/>
                  </a:lnTo>
                  <a:lnTo>
                    <a:pt x="1184" y="1610"/>
                  </a:lnTo>
                  <a:lnTo>
                    <a:pt x="1158" y="1612"/>
                  </a:lnTo>
                  <a:lnTo>
                    <a:pt x="1154" y="1580"/>
                  </a:lnTo>
                  <a:lnTo>
                    <a:pt x="1062" y="1573"/>
                  </a:lnTo>
                  <a:lnTo>
                    <a:pt x="1056" y="1634"/>
                  </a:lnTo>
                  <a:lnTo>
                    <a:pt x="1019" y="1649"/>
                  </a:lnTo>
                  <a:lnTo>
                    <a:pt x="962" y="1660"/>
                  </a:lnTo>
                  <a:lnTo>
                    <a:pt x="913" y="1637"/>
                  </a:lnTo>
                  <a:lnTo>
                    <a:pt x="885" y="1665"/>
                  </a:lnTo>
                  <a:lnTo>
                    <a:pt x="878" y="1726"/>
                  </a:lnTo>
                  <a:lnTo>
                    <a:pt x="919" y="1765"/>
                  </a:lnTo>
                  <a:lnTo>
                    <a:pt x="931" y="1818"/>
                  </a:lnTo>
                  <a:lnTo>
                    <a:pt x="913" y="1851"/>
                  </a:lnTo>
                  <a:lnTo>
                    <a:pt x="919" y="1924"/>
                  </a:lnTo>
                  <a:lnTo>
                    <a:pt x="894" y="1943"/>
                  </a:lnTo>
                  <a:lnTo>
                    <a:pt x="866" y="1912"/>
                  </a:lnTo>
                  <a:lnTo>
                    <a:pt x="848" y="1943"/>
                  </a:lnTo>
                  <a:lnTo>
                    <a:pt x="828" y="1894"/>
                  </a:lnTo>
                  <a:lnTo>
                    <a:pt x="798" y="1898"/>
                  </a:lnTo>
                  <a:lnTo>
                    <a:pt x="797" y="1839"/>
                  </a:lnTo>
                  <a:lnTo>
                    <a:pt x="768" y="1787"/>
                  </a:lnTo>
                  <a:lnTo>
                    <a:pt x="753" y="1818"/>
                  </a:lnTo>
                  <a:lnTo>
                    <a:pt x="707" y="1818"/>
                  </a:lnTo>
                  <a:lnTo>
                    <a:pt x="705" y="1851"/>
                  </a:lnTo>
                  <a:lnTo>
                    <a:pt x="657" y="1879"/>
                  </a:lnTo>
                  <a:lnTo>
                    <a:pt x="619" y="1851"/>
                  </a:lnTo>
                  <a:lnTo>
                    <a:pt x="564" y="1879"/>
                  </a:lnTo>
                  <a:lnTo>
                    <a:pt x="547" y="1825"/>
                  </a:lnTo>
                  <a:lnTo>
                    <a:pt x="523" y="1837"/>
                  </a:lnTo>
                  <a:lnTo>
                    <a:pt x="530" y="1753"/>
                  </a:lnTo>
                  <a:lnTo>
                    <a:pt x="504" y="1726"/>
                  </a:lnTo>
                  <a:lnTo>
                    <a:pt x="436" y="1710"/>
                  </a:lnTo>
                  <a:lnTo>
                    <a:pt x="393" y="1717"/>
                  </a:lnTo>
                  <a:lnTo>
                    <a:pt x="370" y="1691"/>
                  </a:lnTo>
                  <a:lnTo>
                    <a:pt x="379" y="1641"/>
                  </a:lnTo>
                  <a:lnTo>
                    <a:pt x="411" y="1629"/>
                  </a:lnTo>
                  <a:lnTo>
                    <a:pt x="411" y="1593"/>
                  </a:lnTo>
                  <a:lnTo>
                    <a:pt x="389" y="1557"/>
                  </a:lnTo>
                  <a:lnTo>
                    <a:pt x="428" y="1542"/>
                  </a:lnTo>
                  <a:lnTo>
                    <a:pt x="435" y="1500"/>
                  </a:lnTo>
                  <a:lnTo>
                    <a:pt x="406" y="1484"/>
                  </a:lnTo>
                  <a:lnTo>
                    <a:pt x="367" y="1489"/>
                  </a:lnTo>
                  <a:lnTo>
                    <a:pt x="374" y="1457"/>
                  </a:lnTo>
                  <a:lnTo>
                    <a:pt x="302" y="1463"/>
                  </a:lnTo>
                  <a:lnTo>
                    <a:pt x="306" y="1397"/>
                  </a:lnTo>
                  <a:lnTo>
                    <a:pt x="282" y="1385"/>
                  </a:lnTo>
                  <a:lnTo>
                    <a:pt x="287" y="1343"/>
                  </a:lnTo>
                  <a:lnTo>
                    <a:pt x="259" y="1329"/>
                  </a:lnTo>
                  <a:lnTo>
                    <a:pt x="266" y="1287"/>
                  </a:lnTo>
                  <a:lnTo>
                    <a:pt x="290" y="1251"/>
                  </a:lnTo>
                  <a:lnTo>
                    <a:pt x="282" y="1226"/>
                  </a:lnTo>
                  <a:lnTo>
                    <a:pt x="257" y="1248"/>
                  </a:lnTo>
                  <a:lnTo>
                    <a:pt x="221" y="1238"/>
                  </a:lnTo>
                  <a:lnTo>
                    <a:pt x="165" y="1214"/>
                  </a:lnTo>
                  <a:lnTo>
                    <a:pt x="130" y="1226"/>
                  </a:lnTo>
                  <a:lnTo>
                    <a:pt x="110" y="1255"/>
                  </a:lnTo>
                  <a:lnTo>
                    <a:pt x="76" y="1255"/>
                  </a:lnTo>
                  <a:lnTo>
                    <a:pt x="61" y="1282"/>
                  </a:lnTo>
                  <a:lnTo>
                    <a:pt x="0" y="1282"/>
                  </a:lnTo>
                  <a:lnTo>
                    <a:pt x="31" y="1248"/>
                  </a:lnTo>
                  <a:lnTo>
                    <a:pt x="43" y="1202"/>
                  </a:lnTo>
                  <a:lnTo>
                    <a:pt x="19" y="1187"/>
                  </a:lnTo>
                  <a:lnTo>
                    <a:pt x="0" y="1152"/>
                  </a:lnTo>
                  <a:lnTo>
                    <a:pt x="3" y="1095"/>
                  </a:lnTo>
                  <a:lnTo>
                    <a:pt x="27" y="1091"/>
                  </a:lnTo>
                  <a:lnTo>
                    <a:pt x="24" y="1058"/>
                  </a:lnTo>
                  <a:lnTo>
                    <a:pt x="61" y="1065"/>
                  </a:lnTo>
                  <a:lnTo>
                    <a:pt x="55" y="985"/>
                  </a:lnTo>
                  <a:lnTo>
                    <a:pt x="104" y="966"/>
                  </a:lnTo>
                  <a:lnTo>
                    <a:pt x="137" y="925"/>
                  </a:lnTo>
                  <a:lnTo>
                    <a:pt x="198" y="898"/>
                  </a:lnTo>
                  <a:lnTo>
                    <a:pt x="210" y="856"/>
                  </a:lnTo>
                  <a:lnTo>
                    <a:pt x="251" y="856"/>
                  </a:lnTo>
                  <a:lnTo>
                    <a:pt x="283" y="852"/>
                  </a:lnTo>
                  <a:lnTo>
                    <a:pt x="287" y="821"/>
                  </a:lnTo>
                  <a:lnTo>
                    <a:pt x="253" y="806"/>
                  </a:lnTo>
                  <a:lnTo>
                    <a:pt x="247" y="741"/>
                  </a:lnTo>
                  <a:lnTo>
                    <a:pt x="283" y="736"/>
                  </a:lnTo>
                  <a:lnTo>
                    <a:pt x="271" y="680"/>
                  </a:lnTo>
                  <a:lnTo>
                    <a:pt x="314" y="653"/>
                  </a:lnTo>
                  <a:lnTo>
                    <a:pt x="302" y="618"/>
                  </a:lnTo>
                  <a:lnTo>
                    <a:pt x="275" y="568"/>
                  </a:lnTo>
                  <a:lnTo>
                    <a:pt x="278" y="507"/>
                  </a:lnTo>
                  <a:lnTo>
                    <a:pt x="282" y="446"/>
                  </a:lnTo>
                  <a:lnTo>
                    <a:pt x="257" y="411"/>
                  </a:lnTo>
                  <a:lnTo>
                    <a:pt x="196" y="427"/>
                  </a:lnTo>
                  <a:lnTo>
                    <a:pt x="208" y="396"/>
                  </a:lnTo>
                  <a:lnTo>
                    <a:pt x="180" y="371"/>
                  </a:lnTo>
                  <a:lnTo>
                    <a:pt x="186" y="331"/>
                  </a:lnTo>
                  <a:lnTo>
                    <a:pt x="153" y="324"/>
                  </a:lnTo>
                  <a:lnTo>
                    <a:pt x="151" y="279"/>
                  </a:lnTo>
                  <a:lnTo>
                    <a:pt x="198" y="240"/>
                  </a:lnTo>
                  <a:lnTo>
                    <a:pt x="268" y="252"/>
                  </a:lnTo>
                  <a:lnTo>
                    <a:pt x="283" y="207"/>
                  </a:lnTo>
                  <a:lnTo>
                    <a:pt x="277" y="122"/>
                  </a:lnTo>
                  <a:lnTo>
                    <a:pt x="256" y="84"/>
                  </a:lnTo>
                  <a:lnTo>
                    <a:pt x="319" y="83"/>
                  </a:lnTo>
                  <a:lnTo>
                    <a:pt x="316" y="23"/>
                  </a:lnTo>
                  <a:lnTo>
                    <a:pt x="373" y="0"/>
                  </a:lnTo>
                  <a:lnTo>
                    <a:pt x="376" y="162"/>
                  </a:lnTo>
                  <a:lnTo>
                    <a:pt x="393" y="245"/>
                  </a:lnTo>
                  <a:lnTo>
                    <a:pt x="435" y="278"/>
                  </a:lnTo>
                  <a:lnTo>
                    <a:pt x="496" y="249"/>
                  </a:lnTo>
                  <a:lnTo>
                    <a:pt x="540" y="186"/>
                  </a:lnTo>
                  <a:lnTo>
                    <a:pt x="603" y="216"/>
                  </a:lnTo>
                  <a:lnTo>
                    <a:pt x="576" y="256"/>
                  </a:lnTo>
                  <a:lnTo>
                    <a:pt x="577" y="306"/>
                  </a:lnTo>
                  <a:lnTo>
                    <a:pt x="612" y="354"/>
                  </a:lnTo>
                  <a:lnTo>
                    <a:pt x="700" y="348"/>
                  </a:lnTo>
                  <a:lnTo>
                    <a:pt x="744" y="417"/>
                  </a:lnTo>
                  <a:lnTo>
                    <a:pt x="817" y="496"/>
                  </a:lnTo>
                  <a:lnTo>
                    <a:pt x="828" y="595"/>
                  </a:lnTo>
                  <a:lnTo>
                    <a:pt x="882" y="648"/>
                  </a:lnTo>
                  <a:lnTo>
                    <a:pt x="913" y="776"/>
                  </a:lnTo>
                  <a:lnTo>
                    <a:pt x="1017" y="785"/>
                  </a:lnTo>
                  <a:lnTo>
                    <a:pt x="1092" y="709"/>
                  </a:lnTo>
                  <a:lnTo>
                    <a:pt x="1114" y="743"/>
                  </a:lnTo>
                  <a:lnTo>
                    <a:pt x="1183" y="740"/>
                  </a:lnTo>
                  <a:lnTo>
                    <a:pt x="1184" y="680"/>
                  </a:lnTo>
                  <a:lnTo>
                    <a:pt x="1217" y="637"/>
                  </a:lnTo>
                  <a:lnTo>
                    <a:pt x="1167" y="567"/>
                  </a:lnTo>
                  <a:lnTo>
                    <a:pt x="1188" y="476"/>
                  </a:lnTo>
                  <a:lnTo>
                    <a:pt x="1309" y="371"/>
                  </a:lnTo>
                  <a:lnTo>
                    <a:pt x="1295" y="286"/>
                  </a:lnTo>
                  <a:lnTo>
                    <a:pt x="1372" y="270"/>
                  </a:lnTo>
                  <a:lnTo>
                    <a:pt x="1381" y="190"/>
                  </a:lnTo>
                  <a:lnTo>
                    <a:pt x="1473" y="186"/>
                  </a:lnTo>
                  <a:lnTo>
                    <a:pt x="1489" y="341"/>
                  </a:lnTo>
                  <a:lnTo>
                    <a:pt x="1597" y="350"/>
                  </a:lnTo>
                  <a:lnTo>
                    <a:pt x="1638" y="307"/>
                  </a:lnTo>
                  <a:lnTo>
                    <a:pt x="1687" y="341"/>
                  </a:lnTo>
                  <a:lnTo>
                    <a:pt x="1696" y="391"/>
                  </a:lnTo>
                  <a:lnTo>
                    <a:pt x="1674" y="442"/>
                  </a:lnTo>
                  <a:lnTo>
                    <a:pt x="1630" y="450"/>
                  </a:lnTo>
                  <a:lnTo>
                    <a:pt x="1610" y="486"/>
                  </a:lnTo>
                  <a:lnTo>
                    <a:pt x="1450" y="466"/>
                  </a:lnTo>
                  <a:lnTo>
                    <a:pt x="1362" y="507"/>
                  </a:lnTo>
                  <a:lnTo>
                    <a:pt x="1357" y="663"/>
                  </a:lnTo>
                  <a:lnTo>
                    <a:pt x="1509" y="645"/>
                  </a:lnTo>
                  <a:lnTo>
                    <a:pt x="1546" y="699"/>
                  </a:lnTo>
                  <a:lnTo>
                    <a:pt x="1490" y="849"/>
                  </a:lnTo>
                  <a:lnTo>
                    <a:pt x="1493" y="937"/>
                  </a:lnTo>
                  <a:lnTo>
                    <a:pt x="1558" y="949"/>
                  </a:lnTo>
                  <a:lnTo>
                    <a:pt x="1569" y="1027"/>
                  </a:lnTo>
                  <a:lnTo>
                    <a:pt x="1519" y="1091"/>
                  </a:lnTo>
                  <a:lnTo>
                    <a:pt x="1538" y="1176"/>
                  </a:lnTo>
                  <a:lnTo>
                    <a:pt x="1672" y="1164"/>
                  </a:lnTo>
                  <a:lnTo>
                    <a:pt x="1678" y="1236"/>
                  </a:lnTo>
                  <a:lnTo>
                    <a:pt x="1776" y="1230"/>
                  </a:lnTo>
                  <a:lnTo>
                    <a:pt x="1796" y="1260"/>
                  </a:lnTo>
                  <a:lnTo>
                    <a:pt x="1865" y="1246"/>
                  </a:lnTo>
                  <a:lnTo>
                    <a:pt x="1900" y="1292"/>
                  </a:lnTo>
                  <a:lnTo>
                    <a:pt x="1885" y="1373"/>
                  </a:lnTo>
                  <a:lnTo>
                    <a:pt x="1821" y="1379"/>
                  </a:lnTo>
                  <a:lnTo>
                    <a:pt x="1777" y="144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2" name="Freeform 90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5340" y="1378"/>
              <a:ext cx="628" cy="563"/>
            </a:xfrm>
            <a:custGeom>
              <a:avLst/>
              <a:gdLst>
                <a:gd name="T0" fmla="*/ 73 w 2388"/>
                <a:gd name="T1" fmla="*/ 73 h 2127"/>
                <a:gd name="T2" fmla="*/ 165 w 2388"/>
                <a:gd name="T3" fmla="*/ 27 h 2127"/>
                <a:gd name="T4" fmla="*/ 264 w 2388"/>
                <a:gd name="T5" fmla="*/ 0 h 2127"/>
                <a:gd name="T6" fmla="*/ 446 w 2388"/>
                <a:gd name="T7" fmla="*/ 55 h 2127"/>
                <a:gd name="T8" fmla="*/ 588 w 2388"/>
                <a:gd name="T9" fmla="*/ 26 h 2127"/>
                <a:gd name="T10" fmla="*/ 715 w 2388"/>
                <a:gd name="T11" fmla="*/ 122 h 2127"/>
                <a:gd name="T12" fmla="*/ 783 w 2388"/>
                <a:gd name="T13" fmla="*/ 257 h 2127"/>
                <a:gd name="T14" fmla="*/ 868 w 2388"/>
                <a:gd name="T15" fmla="*/ 314 h 2127"/>
                <a:gd name="T16" fmla="*/ 913 w 2388"/>
                <a:gd name="T17" fmla="*/ 425 h 2127"/>
                <a:gd name="T18" fmla="*/ 1012 w 2388"/>
                <a:gd name="T19" fmla="*/ 535 h 2127"/>
                <a:gd name="T20" fmla="*/ 1092 w 2388"/>
                <a:gd name="T21" fmla="*/ 656 h 2127"/>
                <a:gd name="T22" fmla="*/ 1109 w 2388"/>
                <a:gd name="T23" fmla="*/ 748 h 2127"/>
                <a:gd name="T24" fmla="*/ 1238 w 2388"/>
                <a:gd name="T25" fmla="*/ 793 h 2127"/>
                <a:gd name="T26" fmla="*/ 1359 w 2388"/>
                <a:gd name="T27" fmla="*/ 775 h 2127"/>
                <a:gd name="T28" fmla="*/ 1512 w 2388"/>
                <a:gd name="T29" fmla="*/ 809 h 2127"/>
                <a:gd name="T30" fmla="*/ 1643 w 2388"/>
                <a:gd name="T31" fmla="*/ 894 h 2127"/>
                <a:gd name="T32" fmla="*/ 1714 w 2388"/>
                <a:gd name="T33" fmla="*/ 1044 h 2127"/>
                <a:gd name="T34" fmla="*/ 1812 w 2388"/>
                <a:gd name="T35" fmla="*/ 1110 h 2127"/>
                <a:gd name="T36" fmla="*/ 1961 w 2388"/>
                <a:gd name="T37" fmla="*/ 1032 h 2127"/>
                <a:gd name="T38" fmla="*/ 2051 w 2388"/>
                <a:gd name="T39" fmla="*/ 956 h 2127"/>
                <a:gd name="T40" fmla="*/ 2162 w 2388"/>
                <a:gd name="T41" fmla="*/ 872 h 2127"/>
                <a:gd name="T42" fmla="*/ 2316 w 2388"/>
                <a:gd name="T43" fmla="*/ 799 h 2127"/>
                <a:gd name="T44" fmla="*/ 2388 w 2388"/>
                <a:gd name="T45" fmla="*/ 956 h 2127"/>
                <a:gd name="T46" fmla="*/ 2345 w 2388"/>
                <a:gd name="T47" fmla="*/ 1061 h 2127"/>
                <a:gd name="T48" fmla="*/ 2360 w 2388"/>
                <a:gd name="T49" fmla="*/ 1165 h 2127"/>
                <a:gd name="T50" fmla="*/ 2345 w 2388"/>
                <a:gd name="T51" fmla="*/ 1264 h 2127"/>
                <a:gd name="T52" fmla="*/ 2345 w 2388"/>
                <a:gd name="T53" fmla="*/ 1360 h 2127"/>
                <a:gd name="T54" fmla="*/ 2297 w 2388"/>
                <a:gd name="T55" fmla="*/ 1452 h 2127"/>
                <a:gd name="T56" fmla="*/ 2082 w 2388"/>
                <a:gd name="T57" fmla="*/ 1589 h 2127"/>
                <a:gd name="T58" fmla="*/ 2021 w 2388"/>
                <a:gd name="T59" fmla="*/ 1698 h 2127"/>
                <a:gd name="T60" fmla="*/ 2017 w 2388"/>
                <a:gd name="T61" fmla="*/ 1790 h 2127"/>
                <a:gd name="T62" fmla="*/ 2059 w 2388"/>
                <a:gd name="T63" fmla="*/ 1897 h 2127"/>
                <a:gd name="T64" fmla="*/ 2112 w 2388"/>
                <a:gd name="T65" fmla="*/ 2006 h 2127"/>
                <a:gd name="T66" fmla="*/ 1978 w 2388"/>
                <a:gd name="T67" fmla="*/ 2043 h 2127"/>
                <a:gd name="T68" fmla="*/ 1788 w 2388"/>
                <a:gd name="T69" fmla="*/ 2042 h 2127"/>
                <a:gd name="T70" fmla="*/ 1665 w 2388"/>
                <a:gd name="T71" fmla="*/ 2059 h 2127"/>
                <a:gd name="T72" fmla="*/ 1508 w 2388"/>
                <a:gd name="T73" fmla="*/ 1939 h 2127"/>
                <a:gd name="T74" fmla="*/ 1428 w 2388"/>
                <a:gd name="T75" fmla="*/ 2011 h 2127"/>
                <a:gd name="T76" fmla="*/ 1291 w 2388"/>
                <a:gd name="T77" fmla="*/ 1871 h 2127"/>
                <a:gd name="T78" fmla="*/ 1107 w 2388"/>
                <a:gd name="T79" fmla="*/ 1882 h 2127"/>
                <a:gd name="T80" fmla="*/ 948 w 2388"/>
                <a:gd name="T81" fmla="*/ 1839 h 2127"/>
                <a:gd name="T82" fmla="*/ 737 w 2388"/>
                <a:gd name="T83" fmla="*/ 1706 h 2127"/>
                <a:gd name="T84" fmla="*/ 639 w 2388"/>
                <a:gd name="T85" fmla="*/ 1627 h 2127"/>
                <a:gd name="T86" fmla="*/ 470 w 2388"/>
                <a:gd name="T87" fmla="*/ 1519 h 2127"/>
                <a:gd name="T88" fmla="*/ 543 w 2388"/>
                <a:gd name="T89" fmla="*/ 1365 h 2127"/>
                <a:gd name="T90" fmla="*/ 659 w 2388"/>
                <a:gd name="T91" fmla="*/ 1178 h 2127"/>
                <a:gd name="T92" fmla="*/ 715 w 2388"/>
                <a:gd name="T93" fmla="*/ 1161 h 2127"/>
                <a:gd name="T94" fmla="*/ 781 w 2388"/>
                <a:gd name="T95" fmla="*/ 908 h 2127"/>
                <a:gd name="T96" fmla="*/ 747 w 2388"/>
                <a:gd name="T97" fmla="*/ 699 h 2127"/>
                <a:gd name="T98" fmla="*/ 695 w 2388"/>
                <a:gd name="T99" fmla="*/ 399 h 2127"/>
                <a:gd name="T100" fmla="*/ 562 w 2388"/>
                <a:gd name="T101" fmla="*/ 481 h 2127"/>
                <a:gd name="T102" fmla="*/ 421 w 2388"/>
                <a:gd name="T103" fmla="*/ 542 h 2127"/>
                <a:gd name="T104" fmla="*/ 268 w 2388"/>
                <a:gd name="T105" fmla="*/ 397 h 2127"/>
                <a:gd name="T106" fmla="*/ 122 w 2388"/>
                <a:gd name="T107" fmla="*/ 326 h 2127"/>
                <a:gd name="T108" fmla="*/ 0 w 2388"/>
                <a:gd name="T109" fmla="*/ 257 h 212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388"/>
                <a:gd name="T166" fmla="*/ 0 h 2127"/>
                <a:gd name="T167" fmla="*/ 2388 w 2388"/>
                <a:gd name="T168" fmla="*/ 2127 h 212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388" h="2127">
                  <a:moveTo>
                    <a:pt x="11" y="95"/>
                  </a:moveTo>
                  <a:lnTo>
                    <a:pt x="41" y="73"/>
                  </a:lnTo>
                  <a:lnTo>
                    <a:pt x="73" y="73"/>
                  </a:lnTo>
                  <a:lnTo>
                    <a:pt x="72" y="51"/>
                  </a:lnTo>
                  <a:lnTo>
                    <a:pt x="165" y="55"/>
                  </a:lnTo>
                  <a:lnTo>
                    <a:pt x="165" y="27"/>
                  </a:lnTo>
                  <a:lnTo>
                    <a:pt x="214" y="24"/>
                  </a:lnTo>
                  <a:lnTo>
                    <a:pt x="245" y="37"/>
                  </a:lnTo>
                  <a:lnTo>
                    <a:pt x="264" y="0"/>
                  </a:lnTo>
                  <a:lnTo>
                    <a:pt x="349" y="0"/>
                  </a:lnTo>
                  <a:lnTo>
                    <a:pt x="410" y="24"/>
                  </a:lnTo>
                  <a:lnTo>
                    <a:pt x="446" y="55"/>
                  </a:lnTo>
                  <a:lnTo>
                    <a:pt x="520" y="55"/>
                  </a:lnTo>
                  <a:lnTo>
                    <a:pt x="524" y="24"/>
                  </a:lnTo>
                  <a:lnTo>
                    <a:pt x="588" y="26"/>
                  </a:lnTo>
                  <a:lnTo>
                    <a:pt x="630" y="73"/>
                  </a:lnTo>
                  <a:lnTo>
                    <a:pt x="674" y="80"/>
                  </a:lnTo>
                  <a:lnTo>
                    <a:pt x="715" y="122"/>
                  </a:lnTo>
                  <a:lnTo>
                    <a:pt x="723" y="180"/>
                  </a:lnTo>
                  <a:lnTo>
                    <a:pt x="771" y="178"/>
                  </a:lnTo>
                  <a:lnTo>
                    <a:pt x="783" y="257"/>
                  </a:lnTo>
                  <a:lnTo>
                    <a:pt x="815" y="252"/>
                  </a:lnTo>
                  <a:lnTo>
                    <a:pt x="833" y="314"/>
                  </a:lnTo>
                  <a:lnTo>
                    <a:pt x="868" y="314"/>
                  </a:lnTo>
                  <a:lnTo>
                    <a:pt x="863" y="374"/>
                  </a:lnTo>
                  <a:lnTo>
                    <a:pt x="917" y="386"/>
                  </a:lnTo>
                  <a:lnTo>
                    <a:pt x="913" y="425"/>
                  </a:lnTo>
                  <a:lnTo>
                    <a:pt x="932" y="469"/>
                  </a:lnTo>
                  <a:lnTo>
                    <a:pt x="972" y="484"/>
                  </a:lnTo>
                  <a:lnTo>
                    <a:pt x="1012" y="535"/>
                  </a:lnTo>
                  <a:lnTo>
                    <a:pt x="1028" y="619"/>
                  </a:lnTo>
                  <a:lnTo>
                    <a:pt x="1066" y="626"/>
                  </a:lnTo>
                  <a:lnTo>
                    <a:pt x="1092" y="656"/>
                  </a:lnTo>
                  <a:lnTo>
                    <a:pt x="1073" y="725"/>
                  </a:lnTo>
                  <a:lnTo>
                    <a:pt x="1109" y="717"/>
                  </a:lnTo>
                  <a:lnTo>
                    <a:pt x="1109" y="748"/>
                  </a:lnTo>
                  <a:lnTo>
                    <a:pt x="1139" y="760"/>
                  </a:lnTo>
                  <a:lnTo>
                    <a:pt x="1153" y="793"/>
                  </a:lnTo>
                  <a:lnTo>
                    <a:pt x="1238" y="793"/>
                  </a:lnTo>
                  <a:lnTo>
                    <a:pt x="1254" y="763"/>
                  </a:lnTo>
                  <a:lnTo>
                    <a:pt x="1299" y="767"/>
                  </a:lnTo>
                  <a:lnTo>
                    <a:pt x="1359" y="775"/>
                  </a:lnTo>
                  <a:lnTo>
                    <a:pt x="1426" y="763"/>
                  </a:lnTo>
                  <a:lnTo>
                    <a:pt x="1464" y="772"/>
                  </a:lnTo>
                  <a:lnTo>
                    <a:pt x="1512" y="809"/>
                  </a:lnTo>
                  <a:lnTo>
                    <a:pt x="1569" y="864"/>
                  </a:lnTo>
                  <a:lnTo>
                    <a:pt x="1647" y="836"/>
                  </a:lnTo>
                  <a:lnTo>
                    <a:pt x="1643" y="894"/>
                  </a:lnTo>
                  <a:lnTo>
                    <a:pt x="1684" y="908"/>
                  </a:lnTo>
                  <a:lnTo>
                    <a:pt x="1726" y="950"/>
                  </a:lnTo>
                  <a:lnTo>
                    <a:pt x="1714" y="1044"/>
                  </a:lnTo>
                  <a:lnTo>
                    <a:pt x="1762" y="1057"/>
                  </a:lnTo>
                  <a:lnTo>
                    <a:pt x="1762" y="1111"/>
                  </a:lnTo>
                  <a:lnTo>
                    <a:pt x="1812" y="1110"/>
                  </a:lnTo>
                  <a:lnTo>
                    <a:pt x="1830" y="1069"/>
                  </a:lnTo>
                  <a:lnTo>
                    <a:pt x="1925" y="1069"/>
                  </a:lnTo>
                  <a:lnTo>
                    <a:pt x="1961" y="1032"/>
                  </a:lnTo>
                  <a:lnTo>
                    <a:pt x="2010" y="1032"/>
                  </a:lnTo>
                  <a:lnTo>
                    <a:pt x="2041" y="986"/>
                  </a:lnTo>
                  <a:lnTo>
                    <a:pt x="2051" y="956"/>
                  </a:lnTo>
                  <a:lnTo>
                    <a:pt x="2078" y="928"/>
                  </a:lnTo>
                  <a:lnTo>
                    <a:pt x="2136" y="909"/>
                  </a:lnTo>
                  <a:lnTo>
                    <a:pt x="2162" y="872"/>
                  </a:lnTo>
                  <a:lnTo>
                    <a:pt x="2228" y="811"/>
                  </a:lnTo>
                  <a:lnTo>
                    <a:pt x="2284" y="817"/>
                  </a:lnTo>
                  <a:lnTo>
                    <a:pt x="2316" y="799"/>
                  </a:lnTo>
                  <a:lnTo>
                    <a:pt x="2328" y="867"/>
                  </a:lnTo>
                  <a:lnTo>
                    <a:pt x="2372" y="897"/>
                  </a:lnTo>
                  <a:lnTo>
                    <a:pt x="2388" y="956"/>
                  </a:lnTo>
                  <a:lnTo>
                    <a:pt x="2353" y="993"/>
                  </a:lnTo>
                  <a:lnTo>
                    <a:pt x="2315" y="1020"/>
                  </a:lnTo>
                  <a:lnTo>
                    <a:pt x="2345" y="1061"/>
                  </a:lnTo>
                  <a:lnTo>
                    <a:pt x="2320" y="1093"/>
                  </a:lnTo>
                  <a:lnTo>
                    <a:pt x="2328" y="1141"/>
                  </a:lnTo>
                  <a:lnTo>
                    <a:pt x="2360" y="1165"/>
                  </a:lnTo>
                  <a:lnTo>
                    <a:pt x="2360" y="1207"/>
                  </a:lnTo>
                  <a:lnTo>
                    <a:pt x="2316" y="1222"/>
                  </a:lnTo>
                  <a:lnTo>
                    <a:pt x="2345" y="1264"/>
                  </a:lnTo>
                  <a:lnTo>
                    <a:pt x="2353" y="1307"/>
                  </a:lnTo>
                  <a:lnTo>
                    <a:pt x="2328" y="1330"/>
                  </a:lnTo>
                  <a:lnTo>
                    <a:pt x="2345" y="1360"/>
                  </a:lnTo>
                  <a:lnTo>
                    <a:pt x="2311" y="1374"/>
                  </a:lnTo>
                  <a:lnTo>
                    <a:pt x="2335" y="1431"/>
                  </a:lnTo>
                  <a:lnTo>
                    <a:pt x="2297" y="1452"/>
                  </a:lnTo>
                  <a:lnTo>
                    <a:pt x="2304" y="1596"/>
                  </a:lnTo>
                  <a:lnTo>
                    <a:pt x="2188" y="1601"/>
                  </a:lnTo>
                  <a:lnTo>
                    <a:pt x="2082" y="1589"/>
                  </a:lnTo>
                  <a:lnTo>
                    <a:pt x="2071" y="1649"/>
                  </a:lnTo>
                  <a:lnTo>
                    <a:pt x="2035" y="1650"/>
                  </a:lnTo>
                  <a:lnTo>
                    <a:pt x="2021" y="1698"/>
                  </a:lnTo>
                  <a:lnTo>
                    <a:pt x="1983" y="1716"/>
                  </a:lnTo>
                  <a:lnTo>
                    <a:pt x="1983" y="1772"/>
                  </a:lnTo>
                  <a:lnTo>
                    <a:pt x="2017" y="1790"/>
                  </a:lnTo>
                  <a:lnTo>
                    <a:pt x="2035" y="1826"/>
                  </a:lnTo>
                  <a:lnTo>
                    <a:pt x="2063" y="1841"/>
                  </a:lnTo>
                  <a:lnTo>
                    <a:pt x="2059" y="1897"/>
                  </a:lnTo>
                  <a:lnTo>
                    <a:pt x="2090" y="1931"/>
                  </a:lnTo>
                  <a:lnTo>
                    <a:pt x="2082" y="1989"/>
                  </a:lnTo>
                  <a:lnTo>
                    <a:pt x="2112" y="2006"/>
                  </a:lnTo>
                  <a:lnTo>
                    <a:pt x="2112" y="2036"/>
                  </a:lnTo>
                  <a:lnTo>
                    <a:pt x="2051" y="2067"/>
                  </a:lnTo>
                  <a:lnTo>
                    <a:pt x="1978" y="2043"/>
                  </a:lnTo>
                  <a:lnTo>
                    <a:pt x="1930" y="1993"/>
                  </a:lnTo>
                  <a:lnTo>
                    <a:pt x="1854" y="1994"/>
                  </a:lnTo>
                  <a:lnTo>
                    <a:pt x="1788" y="2042"/>
                  </a:lnTo>
                  <a:lnTo>
                    <a:pt x="1758" y="2120"/>
                  </a:lnTo>
                  <a:lnTo>
                    <a:pt x="1696" y="2127"/>
                  </a:lnTo>
                  <a:lnTo>
                    <a:pt x="1665" y="2059"/>
                  </a:lnTo>
                  <a:lnTo>
                    <a:pt x="1609" y="2050"/>
                  </a:lnTo>
                  <a:lnTo>
                    <a:pt x="1560" y="1933"/>
                  </a:lnTo>
                  <a:lnTo>
                    <a:pt x="1508" y="1939"/>
                  </a:lnTo>
                  <a:lnTo>
                    <a:pt x="1529" y="2050"/>
                  </a:lnTo>
                  <a:lnTo>
                    <a:pt x="1478" y="2059"/>
                  </a:lnTo>
                  <a:lnTo>
                    <a:pt x="1428" y="2011"/>
                  </a:lnTo>
                  <a:lnTo>
                    <a:pt x="1422" y="1945"/>
                  </a:lnTo>
                  <a:lnTo>
                    <a:pt x="1346" y="1958"/>
                  </a:lnTo>
                  <a:lnTo>
                    <a:pt x="1291" y="1871"/>
                  </a:lnTo>
                  <a:lnTo>
                    <a:pt x="1231" y="1834"/>
                  </a:lnTo>
                  <a:lnTo>
                    <a:pt x="1181" y="1875"/>
                  </a:lnTo>
                  <a:lnTo>
                    <a:pt x="1107" y="1882"/>
                  </a:lnTo>
                  <a:lnTo>
                    <a:pt x="1070" y="1810"/>
                  </a:lnTo>
                  <a:lnTo>
                    <a:pt x="1004" y="1841"/>
                  </a:lnTo>
                  <a:lnTo>
                    <a:pt x="948" y="1839"/>
                  </a:lnTo>
                  <a:lnTo>
                    <a:pt x="856" y="1883"/>
                  </a:lnTo>
                  <a:lnTo>
                    <a:pt x="784" y="1826"/>
                  </a:lnTo>
                  <a:lnTo>
                    <a:pt x="737" y="1706"/>
                  </a:lnTo>
                  <a:lnTo>
                    <a:pt x="575" y="1749"/>
                  </a:lnTo>
                  <a:lnTo>
                    <a:pt x="575" y="1668"/>
                  </a:lnTo>
                  <a:lnTo>
                    <a:pt x="639" y="1627"/>
                  </a:lnTo>
                  <a:lnTo>
                    <a:pt x="642" y="1569"/>
                  </a:lnTo>
                  <a:lnTo>
                    <a:pt x="581" y="1596"/>
                  </a:lnTo>
                  <a:lnTo>
                    <a:pt x="470" y="1519"/>
                  </a:lnTo>
                  <a:lnTo>
                    <a:pt x="446" y="1473"/>
                  </a:lnTo>
                  <a:lnTo>
                    <a:pt x="451" y="1430"/>
                  </a:lnTo>
                  <a:lnTo>
                    <a:pt x="543" y="1365"/>
                  </a:lnTo>
                  <a:lnTo>
                    <a:pt x="537" y="1320"/>
                  </a:lnTo>
                  <a:lnTo>
                    <a:pt x="635" y="1215"/>
                  </a:lnTo>
                  <a:lnTo>
                    <a:pt x="659" y="1178"/>
                  </a:lnTo>
                  <a:lnTo>
                    <a:pt x="715" y="1223"/>
                  </a:lnTo>
                  <a:lnTo>
                    <a:pt x="741" y="1190"/>
                  </a:lnTo>
                  <a:lnTo>
                    <a:pt x="715" y="1161"/>
                  </a:lnTo>
                  <a:lnTo>
                    <a:pt x="715" y="1042"/>
                  </a:lnTo>
                  <a:lnTo>
                    <a:pt x="797" y="940"/>
                  </a:lnTo>
                  <a:lnTo>
                    <a:pt x="781" y="908"/>
                  </a:lnTo>
                  <a:lnTo>
                    <a:pt x="747" y="886"/>
                  </a:lnTo>
                  <a:lnTo>
                    <a:pt x="741" y="795"/>
                  </a:lnTo>
                  <a:lnTo>
                    <a:pt x="747" y="699"/>
                  </a:lnTo>
                  <a:lnTo>
                    <a:pt x="805" y="616"/>
                  </a:lnTo>
                  <a:lnTo>
                    <a:pt x="833" y="500"/>
                  </a:lnTo>
                  <a:lnTo>
                    <a:pt x="695" y="399"/>
                  </a:lnTo>
                  <a:lnTo>
                    <a:pt x="638" y="411"/>
                  </a:lnTo>
                  <a:lnTo>
                    <a:pt x="627" y="475"/>
                  </a:lnTo>
                  <a:lnTo>
                    <a:pt x="562" y="481"/>
                  </a:lnTo>
                  <a:lnTo>
                    <a:pt x="548" y="509"/>
                  </a:lnTo>
                  <a:lnTo>
                    <a:pt x="480" y="509"/>
                  </a:lnTo>
                  <a:lnTo>
                    <a:pt x="421" y="542"/>
                  </a:lnTo>
                  <a:lnTo>
                    <a:pt x="348" y="536"/>
                  </a:lnTo>
                  <a:lnTo>
                    <a:pt x="262" y="455"/>
                  </a:lnTo>
                  <a:lnTo>
                    <a:pt x="268" y="397"/>
                  </a:lnTo>
                  <a:lnTo>
                    <a:pt x="232" y="323"/>
                  </a:lnTo>
                  <a:lnTo>
                    <a:pt x="176" y="279"/>
                  </a:lnTo>
                  <a:lnTo>
                    <a:pt x="122" y="326"/>
                  </a:lnTo>
                  <a:lnTo>
                    <a:pt x="51" y="320"/>
                  </a:lnTo>
                  <a:lnTo>
                    <a:pt x="4" y="293"/>
                  </a:lnTo>
                  <a:lnTo>
                    <a:pt x="0" y="257"/>
                  </a:lnTo>
                  <a:lnTo>
                    <a:pt x="73" y="161"/>
                  </a:lnTo>
                  <a:lnTo>
                    <a:pt x="11" y="9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zh-CN" altLang="en-US"/>
            </a:p>
          </p:txBody>
        </p:sp>
        <p:sp>
          <p:nvSpPr>
            <p:cNvPr id="13" name="Freeform 91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5439" y="1830"/>
              <a:ext cx="464" cy="319"/>
            </a:xfrm>
            <a:custGeom>
              <a:avLst/>
              <a:gdLst>
                <a:gd name="T0" fmla="*/ 1733 w 1766"/>
                <a:gd name="T1" fmla="*/ 464 h 1203"/>
                <a:gd name="T2" fmla="*/ 1766 w 1766"/>
                <a:gd name="T3" fmla="*/ 367 h 1203"/>
                <a:gd name="T4" fmla="*/ 1672 w 1766"/>
                <a:gd name="T5" fmla="*/ 362 h 1203"/>
                <a:gd name="T6" fmla="*/ 1554 w 1766"/>
                <a:gd name="T7" fmla="*/ 286 h 1203"/>
                <a:gd name="T8" fmla="*/ 1410 w 1766"/>
                <a:gd name="T9" fmla="*/ 336 h 1203"/>
                <a:gd name="T10" fmla="*/ 1318 w 1766"/>
                <a:gd name="T11" fmla="*/ 421 h 1203"/>
                <a:gd name="T12" fmla="*/ 1232 w 1766"/>
                <a:gd name="T13" fmla="*/ 342 h 1203"/>
                <a:gd name="T14" fmla="*/ 1129 w 1766"/>
                <a:gd name="T15" fmla="*/ 233 h 1203"/>
                <a:gd name="T16" fmla="*/ 1100 w 1766"/>
                <a:gd name="T17" fmla="*/ 352 h 1203"/>
                <a:gd name="T18" fmla="*/ 1044 w 1766"/>
                <a:gd name="T19" fmla="*/ 238 h 1203"/>
                <a:gd name="T20" fmla="*/ 913 w 1766"/>
                <a:gd name="T21" fmla="*/ 165 h 1203"/>
                <a:gd name="T22" fmla="*/ 803 w 1766"/>
                <a:gd name="T23" fmla="*/ 169 h 1203"/>
                <a:gd name="T24" fmla="*/ 692 w 1766"/>
                <a:gd name="T25" fmla="*/ 104 h 1203"/>
                <a:gd name="T26" fmla="*/ 570 w 1766"/>
                <a:gd name="T27" fmla="*/ 133 h 1203"/>
                <a:gd name="T28" fmla="*/ 408 w 1766"/>
                <a:gd name="T29" fmla="*/ 121 h 1203"/>
                <a:gd name="T30" fmla="*/ 196 w 1766"/>
                <a:gd name="T31" fmla="*/ 43 h 1203"/>
                <a:gd name="T32" fmla="*/ 21 w 1766"/>
                <a:gd name="T33" fmla="*/ 127 h 1203"/>
                <a:gd name="T34" fmla="*/ 60 w 1766"/>
                <a:gd name="T35" fmla="*/ 213 h 1203"/>
                <a:gd name="T36" fmla="*/ 99 w 1766"/>
                <a:gd name="T37" fmla="*/ 415 h 1203"/>
                <a:gd name="T38" fmla="*/ 159 w 1766"/>
                <a:gd name="T39" fmla="*/ 532 h 1203"/>
                <a:gd name="T40" fmla="*/ 294 w 1766"/>
                <a:gd name="T41" fmla="*/ 435 h 1203"/>
                <a:gd name="T42" fmla="*/ 399 w 1766"/>
                <a:gd name="T43" fmla="*/ 586 h 1203"/>
                <a:gd name="T44" fmla="*/ 413 w 1766"/>
                <a:gd name="T45" fmla="*/ 675 h 1203"/>
                <a:gd name="T46" fmla="*/ 584 w 1766"/>
                <a:gd name="T47" fmla="*/ 679 h 1203"/>
                <a:gd name="T48" fmla="*/ 633 w 1766"/>
                <a:gd name="T49" fmla="*/ 760 h 1203"/>
                <a:gd name="T50" fmla="*/ 711 w 1766"/>
                <a:gd name="T51" fmla="*/ 797 h 1203"/>
                <a:gd name="T52" fmla="*/ 817 w 1766"/>
                <a:gd name="T53" fmla="*/ 896 h 1203"/>
                <a:gd name="T54" fmla="*/ 923 w 1766"/>
                <a:gd name="T55" fmla="*/ 1075 h 1203"/>
                <a:gd name="T56" fmla="*/ 916 w 1766"/>
                <a:gd name="T57" fmla="*/ 1203 h 1203"/>
                <a:gd name="T58" fmla="*/ 970 w 1766"/>
                <a:gd name="T59" fmla="*/ 1152 h 1203"/>
                <a:gd name="T60" fmla="*/ 993 w 1766"/>
                <a:gd name="T61" fmla="*/ 1085 h 1203"/>
                <a:gd name="T62" fmla="*/ 1050 w 1766"/>
                <a:gd name="T63" fmla="*/ 1059 h 1203"/>
                <a:gd name="T64" fmla="*/ 1076 w 1766"/>
                <a:gd name="T65" fmla="*/ 955 h 1203"/>
                <a:gd name="T66" fmla="*/ 1151 w 1766"/>
                <a:gd name="T67" fmla="*/ 954 h 1203"/>
                <a:gd name="T68" fmla="*/ 1278 w 1766"/>
                <a:gd name="T69" fmla="*/ 988 h 1203"/>
                <a:gd name="T70" fmla="*/ 1343 w 1766"/>
                <a:gd name="T71" fmla="*/ 964 h 1203"/>
                <a:gd name="T72" fmla="*/ 1289 w 1766"/>
                <a:gd name="T73" fmla="*/ 870 h 1203"/>
                <a:gd name="T74" fmla="*/ 1360 w 1766"/>
                <a:gd name="T75" fmla="*/ 820 h 1203"/>
                <a:gd name="T76" fmla="*/ 1423 w 1766"/>
                <a:gd name="T77" fmla="*/ 790 h 1203"/>
                <a:gd name="T78" fmla="*/ 1461 w 1766"/>
                <a:gd name="T79" fmla="*/ 700 h 1203"/>
                <a:gd name="T80" fmla="*/ 1532 w 1766"/>
                <a:gd name="T81" fmla="*/ 672 h 1203"/>
                <a:gd name="T82" fmla="*/ 1539 w 1766"/>
                <a:gd name="T83" fmla="*/ 520 h 1203"/>
                <a:gd name="T84" fmla="*/ 1648 w 1766"/>
                <a:gd name="T85" fmla="*/ 595 h 1203"/>
                <a:gd name="T86" fmla="*/ 1723 w 1766"/>
                <a:gd name="T87" fmla="*/ 503 h 120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66"/>
                <a:gd name="T133" fmla="*/ 0 h 1203"/>
                <a:gd name="T134" fmla="*/ 1766 w 1766"/>
                <a:gd name="T135" fmla="*/ 1203 h 120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66" h="1203">
                  <a:moveTo>
                    <a:pt x="1723" y="503"/>
                  </a:moveTo>
                  <a:lnTo>
                    <a:pt x="1733" y="464"/>
                  </a:lnTo>
                  <a:lnTo>
                    <a:pt x="1766" y="427"/>
                  </a:lnTo>
                  <a:lnTo>
                    <a:pt x="1766" y="367"/>
                  </a:lnTo>
                  <a:lnTo>
                    <a:pt x="1734" y="330"/>
                  </a:lnTo>
                  <a:lnTo>
                    <a:pt x="1672" y="362"/>
                  </a:lnTo>
                  <a:lnTo>
                    <a:pt x="1599" y="336"/>
                  </a:lnTo>
                  <a:lnTo>
                    <a:pt x="1554" y="286"/>
                  </a:lnTo>
                  <a:lnTo>
                    <a:pt x="1476" y="288"/>
                  </a:lnTo>
                  <a:lnTo>
                    <a:pt x="1410" y="336"/>
                  </a:lnTo>
                  <a:lnTo>
                    <a:pt x="1380" y="414"/>
                  </a:lnTo>
                  <a:lnTo>
                    <a:pt x="1318" y="421"/>
                  </a:lnTo>
                  <a:lnTo>
                    <a:pt x="1287" y="354"/>
                  </a:lnTo>
                  <a:lnTo>
                    <a:pt x="1232" y="342"/>
                  </a:lnTo>
                  <a:lnTo>
                    <a:pt x="1182" y="226"/>
                  </a:lnTo>
                  <a:lnTo>
                    <a:pt x="1129" y="233"/>
                  </a:lnTo>
                  <a:lnTo>
                    <a:pt x="1151" y="343"/>
                  </a:lnTo>
                  <a:lnTo>
                    <a:pt x="1100" y="352"/>
                  </a:lnTo>
                  <a:lnTo>
                    <a:pt x="1050" y="305"/>
                  </a:lnTo>
                  <a:lnTo>
                    <a:pt x="1044" y="238"/>
                  </a:lnTo>
                  <a:lnTo>
                    <a:pt x="968" y="250"/>
                  </a:lnTo>
                  <a:lnTo>
                    <a:pt x="913" y="165"/>
                  </a:lnTo>
                  <a:lnTo>
                    <a:pt x="853" y="129"/>
                  </a:lnTo>
                  <a:lnTo>
                    <a:pt x="803" y="169"/>
                  </a:lnTo>
                  <a:lnTo>
                    <a:pt x="729" y="175"/>
                  </a:lnTo>
                  <a:lnTo>
                    <a:pt x="692" y="104"/>
                  </a:lnTo>
                  <a:lnTo>
                    <a:pt x="627" y="135"/>
                  </a:lnTo>
                  <a:lnTo>
                    <a:pt x="570" y="133"/>
                  </a:lnTo>
                  <a:lnTo>
                    <a:pt x="479" y="177"/>
                  </a:lnTo>
                  <a:lnTo>
                    <a:pt x="408" y="121"/>
                  </a:lnTo>
                  <a:lnTo>
                    <a:pt x="359" y="0"/>
                  </a:lnTo>
                  <a:lnTo>
                    <a:pt x="196" y="43"/>
                  </a:lnTo>
                  <a:lnTo>
                    <a:pt x="156" y="145"/>
                  </a:lnTo>
                  <a:lnTo>
                    <a:pt x="21" y="127"/>
                  </a:lnTo>
                  <a:lnTo>
                    <a:pt x="0" y="189"/>
                  </a:lnTo>
                  <a:lnTo>
                    <a:pt x="60" y="213"/>
                  </a:lnTo>
                  <a:lnTo>
                    <a:pt x="105" y="289"/>
                  </a:lnTo>
                  <a:lnTo>
                    <a:pt x="99" y="415"/>
                  </a:lnTo>
                  <a:lnTo>
                    <a:pt x="162" y="466"/>
                  </a:lnTo>
                  <a:lnTo>
                    <a:pt x="159" y="532"/>
                  </a:lnTo>
                  <a:lnTo>
                    <a:pt x="201" y="532"/>
                  </a:lnTo>
                  <a:lnTo>
                    <a:pt x="294" y="435"/>
                  </a:lnTo>
                  <a:lnTo>
                    <a:pt x="357" y="508"/>
                  </a:lnTo>
                  <a:lnTo>
                    <a:pt x="399" y="586"/>
                  </a:lnTo>
                  <a:lnTo>
                    <a:pt x="381" y="649"/>
                  </a:lnTo>
                  <a:lnTo>
                    <a:pt x="413" y="675"/>
                  </a:lnTo>
                  <a:lnTo>
                    <a:pt x="467" y="688"/>
                  </a:lnTo>
                  <a:lnTo>
                    <a:pt x="584" y="679"/>
                  </a:lnTo>
                  <a:lnTo>
                    <a:pt x="575" y="752"/>
                  </a:lnTo>
                  <a:lnTo>
                    <a:pt x="633" y="760"/>
                  </a:lnTo>
                  <a:lnTo>
                    <a:pt x="663" y="696"/>
                  </a:lnTo>
                  <a:lnTo>
                    <a:pt x="711" y="797"/>
                  </a:lnTo>
                  <a:lnTo>
                    <a:pt x="777" y="868"/>
                  </a:lnTo>
                  <a:lnTo>
                    <a:pt x="817" y="896"/>
                  </a:lnTo>
                  <a:lnTo>
                    <a:pt x="804" y="981"/>
                  </a:lnTo>
                  <a:lnTo>
                    <a:pt x="923" y="1075"/>
                  </a:lnTo>
                  <a:lnTo>
                    <a:pt x="907" y="1167"/>
                  </a:lnTo>
                  <a:lnTo>
                    <a:pt x="916" y="1203"/>
                  </a:lnTo>
                  <a:lnTo>
                    <a:pt x="971" y="1199"/>
                  </a:lnTo>
                  <a:lnTo>
                    <a:pt x="970" y="1152"/>
                  </a:lnTo>
                  <a:lnTo>
                    <a:pt x="1005" y="1146"/>
                  </a:lnTo>
                  <a:lnTo>
                    <a:pt x="993" y="1085"/>
                  </a:lnTo>
                  <a:lnTo>
                    <a:pt x="1025" y="1061"/>
                  </a:lnTo>
                  <a:lnTo>
                    <a:pt x="1050" y="1059"/>
                  </a:lnTo>
                  <a:lnTo>
                    <a:pt x="1043" y="960"/>
                  </a:lnTo>
                  <a:lnTo>
                    <a:pt x="1076" y="955"/>
                  </a:lnTo>
                  <a:lnTo>
                    <a:pt x="1097" y="924"/>
                  </a:lnTo>
                  <a:lnTo>
                    <a:pt x="1151" y="954"/>
                  </a:lnTo>
                  <a:lnTo>
                    <a:pt x="1170" y="987"/>
                  </a:lnTo>
                  <a:lnTo>
                    <a:pt x="1278" y="988"/>
                  </a:lnTo>
                  <a:lnTo>
                    <a:pt x="1312" y="957"/>
                  </a:lnTo>
                  <a:lnTo>
                    <a:pt x="1343" y="964"/>
                  </a:lnTo>
                  <a:lnTo>
                    <a:pt x="1343" y="885"/>
                  </a:lnTo>
                  <a:lnTo>
                    <a:pt x="1289" y="870"/>
                  </a:lnTo>
                  <a:lnTo>
                    <a:pt x="1289" y="814"/>
                  </a:lnTo>
                  <a:lnTo>
                    <a:pt x="1360" y="820"/>
                  </a:lnTo>
                  <a:lnTo>
                    <a:pt x="1383" y="784"/>
                  </a:lnTo>
                  <a:lnTo>
                    <a:pt x="1423" y="790"/>
                  </a:lnTo>
                  <a:lnTo>
                    <a:pt x="1460" y="760"/>
                  </a:lnTo>
                  <a:lnTo>
                    <a:pt x="1461" y="700"/>
                  </a:lnTo>
                  <a:lnTo>
                    <a:pt x="1483" y="675"/>
                  </a:lnTo>
                  <a:lnTo>
                    <a:pt x="1532" y="672"/>
                  </a:lnTo>
                  <a:lnTo>
                    <a:pt x="1540" y="623"/>
                  </a:lnTo>
                  <a:lnTo>
                    <a:pt x="1539" y="520"/>
                  </a:lnTo>
                  <a:lnTo>
                    <a:pt x="1568" y="512"/>
                  </a:lnTo>
                  <a:lnTo>
                    <a:pt x="1648" y="595"/>
                  </a:lnTo>
                  <a:lnTo>
                    <a:pt x="1662" y="534"/>
                  </a:lnTo>
                  <a:lnTo>
                    <a:pt x="1723" y="50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4" name="Freeform 92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5366" y="2010"/>
              <a:ext cx="316" cy="310"/>
            </a:xfrm>
            <a:custGeom>
              <a:avLst/>
              <a:gdLst>
                <a:gd name="T0" fmla="*/ 1181 w 1198"/>
                <a:gd name="T1" fmla="*/ 569 h 1172"/>
                <a:gd name="T2" fmla="*/ 1110 w 1198"/>
                <a:gd name="T3" fmla="*/ 621 h 1172"/>
                <a:gd name="T4" fmla="*/ 1004 w 1198"/>
                <a:gd name="T5" fmla="*/ 722 h 1172"/>
                <a:gd name="T6" fmla="*/ 938 w 1198"/>
                <a:gd name="T7" fmla="*/ 810 h 1172"/>
                <a:gd name="T8" fmla="*/ 845 w 1198"/>
                <a:gd name="T9" fmla="*/ 829 h 1172"/>
                <a:gd name="T10" fmla="*/ 730 w 1198"/>
                <a:gd name="T11" fmla="*/ 909 h 1172"/>
                <a:gd name="T12" fmla="*/ 648 w 1198"/>
                <a:gd name="T13" fmla="*/ 1024 h 1172"/>
                <a:gd name="T14" fmla="*/ 626 w 1198"/>
                <a:gd name="T15" fmla="*/ 1066 h 1172"/>
                <a:gd name="T16" fmla="*/ 571 w 1198"/>
                <a:gd name="T17" fmla="*/ 1104 h 1172"/>
                <a:gd name="T18" fmla="*/ 532 w 1198"/>
                <a:gd name="T19" fmla="*/ 1139 h 1172"/>
                <a:gd name="T20" fmla="*/ 459 w 1198"/>
                <a:gd name="T21" fmla="*/ 1172 h 1172"/>
                <a:gd name="T22" fmla="*/ 503 w 1198"/>
                <a:gd name="T23" fmla="*/ 1099 h 1172"/>
                <a:gd name="T24" fmla="*/ 537 w 1198"/>
                <a:gd name="T25" fmla="*/ 1043 h 1172"/>
                <a:gd name="T26" fmla="*/ 559 w 1198"/>
                <a:gd name="T27" fmla="*/ 992 h 1172"/>
                <a:gd name="T28" fmla="*/ 454 w 1198"/>
                <a:gd name="T29" fmla="*/ 982 h 1172"/>
                <a:gd name="T30" fmla="*/ 551 w 1198"/>
                <a:gd name="T31" fmla="*/ 858 h 1172"/>
                <a:gd name="T32" fmla="*/ 593 w 1198"/>
                <a:gd name="T33" fmla="*/ 722 h 1172"/>
                <a:gd name="T34" fmla="*/ 516 w 1198"/>
                <a:gd name="T35" fmla="*/ 649 h 1172"/>
                <a:gd name="T36" fmla="*/ 471 w 1198"/>
                <a:gd name="T37" fmla="*/ 657 h 1172"/>
                <a:gd name="T38" fmla="*/ 415 w 1198"/>
                <a:gd name="T39" fmla="*/ 692 h 1172"/>
                <a:gd name="T40" fmla="*/ 350 w 1198"/>
                <a:gd name="T41" fmla="*/ 729 h 1172"/>
                <a:gd name="T42" fmla="*/ 320 w 1198"/>
                <a:gd name="T43" fmla="*/ 802 h 1172"/>
                <a:gd name="T44" fmla="*/ 293 w 1198"/>
                <a:gd name="T45" fmla="*/ 841 h 1172"/>
                <a:gd name="T46" fmla="*/ 270 w 1198"/>
                <a:gd name="T47" fmla="*/ 875 h 1172"/>
                <a:gd name="T48" fmla="*/ 208 w 1198"/>
                <a:gd name="T49" fmla="*/ 902 h 1172"/>
                <a:gd name="T50" fmla="*/ 125 w 1198"/>
                <a:gd name="T51" fmla="*/ 785 h 1172"/>
                <a:gd name="T52" fmla="*/ 0 w 1198"/>
                <a:gd name="T53" fmla="*/ 733 h 1172"/>
                <a:gd name="T54" fmla="*/ 73 w 1198"/>
                <a:gd name="T55" fmla="*/ 589 h 1172"/>
                <a:gd name="T56" fmla="*/ 31 w 1198"/>
                <a:gd name="T57" fmla="*/ 382 h 1172"/>
                <a:gd name="T58" fmla="*/ 124 w 1198"/>
                <a:gd name="T59" fmla="*/ 407 h 1172"/>
                <a:gd name="T60" fmla="*/ 197 w 1198"/>
                <a:gd name="T61" fmla="*/ 490 h 1172"/>
                <a:gd name="T62" fmla="*/ 320 w 1198"/>
                <a:gd name="T63" fmla="*/ 330 h 1172"/>
                <a:gd name="T64" fmla="*/ 443 w 1198"/>
                <a:gd name="T65" fmla="*/ 278 h 1172"/>
                <a:gd name="T66" fmla="*/ 540 w 1198"/>
                <a:gd name="T67" fmla="*/ 213 h 1172"/>
                <a:gd name="T68" fmla="*/ 627 w 1198"/>
                <a:gd name="T69" fmla="*/ 177 h 1172"/>
                <a:gd name="T70" fmla="*/ 736 w 1198"/>
                <a:gd name="T71" fmla="*/ 57 h 1172"/>
                <a:gd name="T72" fmla="*/ 859 w 1198"/>
                <a:gd name="T73" fmla="*/ 0 h 1172"/>
                <a:gd name="T74" fmla="*/ 907 w 1198"/>
                <a:gd name="T75" fmla="*/ 81 h 1172"/>
                <a:gd name="T76" fmla="*/ 987 w 1198"/>
                <a:gd name="T77" fmla="*/ 118 h 1172"/>
                <a:gd name="T78" fmla="*/ 1092 w 1198"/>
                <a:gd name="T79" fmla="*/ 217 h 1172"/>
                <a:gd name="T80" fmla="*/ 1198 w 1198"/>
                <a:gd name="T81" fmla="*/ 397 h 1172"/>
                <a:gd name="T82" fmla="*/ 1192 w 1198"/>
                <a:gd name="T83" fmla="*/ 524 h 117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198"/>
                <a:gd name="T127" fmla="*/ 0 h 1172"/>
                <a:gd name="T128" fmla="*/ 1198 w 1198"/>
                <a:gd name="T129" fmla="*/ 1172 h 117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198" h="1172">
                  <a:moveTo>
                    <a:pt x="1192" y="524"/>
                  </a:moveTo>
                  <a:lnTo>
                    <a:pt x="1181" y="569"/>
                  </a:lnTo>
                  <a:lnTo>
                    <a:pt x="1135" y="572"/>
                  </a:lnTo>
                  <a:lnTo>
                    <a:pt x="1110" y="621"/>
                  </a:lnTo>
                  <a:lnTo>
                    <a:pt x="1048" y="661"/>
                  </a:lnTo>
                  <a:lnTo>
                    <a:pt x="1004" y="722"/>
                  </a:lnTo>
                  <a:lnTo>
                    <a:pt x="991" y="793"/>
                  </a:lnTo>
                  <a:lnTo>
                    <a:pt x="938" y="810"/>
                  </a:lnTo>
                  <a:lnTo>
                    <a:pt x="918" y="833"/>
                  </a:lnTo>
                  <a:lnTo>
                    <a:pt x="845" y="829"/>
                  </a:lnTo>
                  <a:lnTo>
                    <a:pt x="784" y="870"/>
                  </a:lnTo>
                  <a:lnTo>
                    <a:pt x="730" y="909"/>
                  </a:lnTo>
                  <a:lnTo>
                    <a:pt x="673" y="958"/>
                  </a:lnTo>
                  <a:lnTo>
                    <a:pt x="648" y="1024"/>
                  </a:lnTo>
                  <a:lnTo>
                    <a:pt x="624" y="1023"/>
                  </a:lnTo>
                  <a:lnTo>
                    <a:pt x="626" y="1066"/>
                  </a:lnTo>
                  <a:lnTo>
                    <a:pt x="589" y="1074"/>
                  </a:lnTo>
                  <a:lnTo>
                    <a:pt x="571" y="1104"/>
                  </a:lnTo>
                  <a:lnTo>
                    <a:pt x="564" y="1141"/>
                  </a:lnTo>
                  <a:lnTo>
                    <a:pt x="532" y="1139"/>
                  </a:lnTo>
                  <a:lnTo>
                    <a:pt x="514" y="1165"/>
                  </a:lnTo>
                  <a:lnTo>
                    <a:pt x="459" y="1172"/>
                  </a:lnTo>
                  <a:lnTo>
                    <a:pt x="459" y="1121"/>
                  </a:lnTo>
                  <a:lnTo>
                    <a:pt x="503" y="1099"/>
                  </a:lnTo>
                  <a:lnTo>
                    <a:pt x="540" y="1080"/>
                  </a:lnTo>
                  <a:lnTo>
                    <a:pt x="537" y="1043"/>
                  </a:lnTo>
                  <a:lnTo>
                    <a:pt x="564" y="1030"/>
                  </a:lnTo>
                  <a:lnTo>
                    <a:pt x="559" y="992"/>
                  </a:lnTo>
                  <a:lnTo>
                    <a:pt x="514" y="994"/>
                  </a:lnTo>
                  <a:lnTo>
                    <a:pt x="454" y="982"/>
                  </a:lnTo>
                  <a:lnTo>
                    <a:pt x="507" y="925"/>
                  </a:lnTo>
                  <a:lnTo>
                    <a:pt x="551" y="858"/>
                  </a:lnTo>
                  <a:lnTo>
                    <a:pt x="587" y="793"/>
                  </a:lnTo>
                  <a:lnTo>
                    <a:pt x="593" y="722"/>
                  </a:lnTo>
                  <a:lnTo>
                    <a:pt x="563" y="680"/>
                  </a:lnTo>
                  <a:lnTo>
                    <a:pt x="516" y="649"/>
                  </a:lnTo>
                  <a:lnTo>
                    <a:pt x="479" y="633"/>
                  </a:lnTo>
                  <a:lnTo>
                    <a:pt x="471" y="657"/>
                  </a:lnTo>
                  <a:lnTo>
                    <a:pt x="434" y="664"/>
                  </a:lnTo>
                  <a:lnTo>
                    <a:pt x="415" y="692"/>
                  </a:lnTo>
                  <a:lnTo>
                    <a:pt x="366" y="688"/>
                  </a:lnTo>
                  <a:lnTo>
                    <a:pt x="350" y="729"/>
                  </a:lnTo>
                  <a:lnTo>
                    <a:pt x="320" y="748"/>
                  </a:lnTo>
                  <a:lnTo>
                    <a:pt x="320" y="802"/>
                  </a:lnTo>
                  <a:lnTo>
                    <a:pt x="289" y="802"/>
                  </a:lnTo>
                  <a:lnTo>
                    <a:pt x="293" y="841"/>
                  </a:lnTo>
                  <a:lnTo>
                    <a:pt x="262" y="833"/>
                  </a:lnTo>
                  <a:lnTo>
                    <a:pt x="270" y="875"/>
                  </a:lnTo>
                  <a:lnTo>
                    <a:pt x="238" y="875"/>
                  </a:lnTo>
                  <a:lnTo>
                    <a:pt x="208" y="902"/>
                  </a:lnTo>
                  <a:lnTo>
                    <a:pt x="157" y="855"/>
                  </a:lnTo>
                  <a:lnTo>
                    <a:pt x="125" y="785"/>
                  </a:lnTo>
                  <a:lnTo>
                    <a:pt x="65" y="785"/>
                  </a:lnTo>
                  <a:lnTo>
                    <a:pt x="0" y="733"/>
                  </a:lnTo>
                  <a:lnTo>
                    <a:pt x="5" y="641"/>
                  </a:lnTo>
                  <a:lnTo>
                    <a:pt x="73" y="589"/>
                  </a:lnTo>
                  <a:lnTo>
                    <a:pt x="38" y="479"/>
                  </a:lnTo>
                  <a:lnTo>
                    <a:pt x="31" y="382"/>
                  </a:lnTo>
                  <a:lnTo>
                    <a:pt x="57" y="374"/>
                  </a:lnTo>
                  <a:lnTo>
                    <a:pt x="124" y="407"/>
                  </a:lnTo>
                  <a:lnTo>
                    <a:pt x="154" y="496"/>
                  </a:lnTo>
                  <a:lnTo>
                    <a:pt x="197" y="490"/>
                  </a:lnTo>
                  <a:lnTo>
                    <a:pt x="223" y="436"/>
                  </a:lnTo>
                  <a:lnTo>
                    <a:pt x="320" y="330"/>
                  </a:lnTo>
                  <a:lnTo>
                    <a:pt x="392" y="269"/>
                  </a:lnTo>
                  <a:lnTo>
                    <a:pt x="443" y="278"/>
                  </a:lnTo>
                  <a:lnTo>
                    <a:pt x="478" y="207"/>
                  </a:lnTo>
                  <a:lnTo>
                    <a:pt x="540" y="213"/>
                  </a:lnTo>
                  <a:lnTo>
                    <a:pt x="540" y="157"/>
                  </a:lnTo>
                  <a:lnTo>
                    <a:pt x="627" y="177"/>
                  </a:lnTo>
                  <a:lnTo>
                    <a:pt x="668" y="149"/>
                  </a:lnTo>
                  <a:lnTo>
                    <a:pt x="736" y="57"/>
                  </a:lnTo>
                  <a:lnTo>
                    <a:pt x="739" y="9"/>
                  </a:lnTo>
                  <a:lnTo>
                    <a:pt x="859" y="0"/>
                  </a:lnTo>
                  <a:lnTo>
                    <a:pt x="850" y="73"/>
                  </a:lnTo>
                  <a:lnTo>
                    <a:pt x="907" y="81"/>
                  </a:lnTo>
                  <a:lnTo>
                    <a:pt x="938" y="20"/>
                  </a:lnTo>
                  <a:lnTo>
                    <a:pt x="987" y="118"/>
                  </a:lnTo>
                  <a:lnTo>
                    <a:pt x="1055" y="192"/>
                  </a:lnTo>
                  <a:lnTo>
                    <a:pt x="1092" y="217"/>
                  </a:lnTo>
                  <a:lnTo>
                    <a:pt x="1079" y="302"/>
                  </a:lnTo>
                  <a:lnTo>
                    <a:pt x="1198" y="397"/>
                  </a:lnTo>
                  <a:lnTo>
                    <a:pt x="1183" y="487"/>
                  </a:lnTo>
                  <a:lnTo>
                    <a:pt x="1192" y="524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zh-CN" altLang="en-US"/>
            </a:p>
          </p:txBody>
        </p:sp>
        <p:sp>
          <p:nvSpPr>
            <p:cNvPr id="15" name="Freeform 93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124" y="2106"/>
              <a:ext cx="297" cy="412"/>
            </a:xfrm>
            <a:custGeom>
              <a:avLst/>
              <a:gdLst>
                <a:gd name="T0" fmla="*/ 810 w 1133"/>
                <a:gd name="T1" fmla="*/ 271 h 1556"/>
                <a:gd name="T2" fmla="*/ 731 w 1133"/>
                <a:gd name="T3" fmla="*/ 160 h 1556"/>
                <a:gd name="T4" fmla="*/ 680 w 1133"/>
                <a:gd name="T5" fmla="*/ 68 h 1556"/>
                <a:gd name="T6" fmla="*/ 598 w 1133"/>
                <a:gd name="T7" fmla="*/ 23 h 1556"/>
                <a:gd name="T8" fmla="*/ 524 w 1133"/>
                <a:gd name="T9" fmla="*/ 60 h 1556"/>
                <a:gd name="T10" fmla="*/ 416 w 1133"/>
                <a:gd name="T11" fmla="*/ 166 h 1556"/>
                <a:gd name="T12" fmla="*/ 313 w 1133"/>
                <a:gd name="T13" fmla="*/ 215 h 1556"/>
                <a:gd name="T14" fmla="*/ 168 w 1133"/>
                <a:gd name="T15" fmla="*/ 289 h 1556"/>
                <a:gd name="T16" fmla="*/ 144 w 1133"/>
                <a:gd name="T17" fmla="*/ 185 h 1556"/>
                <a:gd name="T18" fmla="*/ 76 w 1133"/>
                <a:gd name="T19" fmla="*/ 234 h 1556"/>
                <a:gd name="T20" fmla="*/ 21 w 1133"/>
                <a:gd name="T21" fmla="*/ 331 h 1556"/>
                <a:gd name="T22" fmla="*/ 0 w 1133"/>
                <a:gd name="T23" fmla="*/ 430 h 1556"/>
                <a:gd name="T24" fmla="*/ 82 w 1133"/>
                <a:gd name="T25" fmla="*/ 540 h 1556"/>
                <a:gd name="T26" fmla="*/ 39 w 1133"/>
                <a:gd name="T27" fmla="*/ 669 h 1556"/>
                <a:gd name="T28" fmla="*/ 149 w 1133"/>
                <a:gd name="T29" fmla="*/ 829 h 1556"/>
                <a:gd name="T30" fmla="*/ 45 w 1133"/>
                <a:gd name="T31" fmla="*/ 894 h 1556"/>
                <a:gd name="T32" fmla="*/ 12 w 1133"/>
                <a:gd name="T33" fmla="*/ 1024 h 1556"/>
                <a:gd name="T34" fmla="*/ 80 w 1133"/>
                <a:gd name="T35" fmla="*/ 1120 h 1556"/>
                <a:gd name="T36" fmla="*/ 88 w 1133"/>
                <a:gd name="T37" fmla="*/ 1330 h 1556"/>
                <a:gd name="T38" fmla="*/ 61 w 1133"/>
                <a:gd name="T39" fmla="*/ 1427 h 1556"/>
                <a:gd name="T40" fmla="*/ 96 w 1133"/>
                <a:gd name="T41" fmla="*/ 1527 h 1556"/>
                <a:gd name="T42" fmla="*/ 192 w 1133"/>
                <a:gd name="T43" fmla="*/ 1521 h 1556"/>
                <a:gd name="T44" fmla="*/ 351 w 1133"/>
                <a:gd name="T45" fmla="*/ 1551 h 1556"/>
                <a:gd name="T46" fmla="*/ 439 w 1133"/>
                <a:gd name="T47" fmla="*/ 1496 h 1556"/>
                <a:gd name="T48" fmla="*/ 409 w 1133"/>
                <a:gd name="T49" fmla="*/ 1433 h 1556"/>
                <a:gd name="T50" fmla="*/ 502 w 1133"/>
                <a:gd name="T51" fmla="*/ 1320 h 1556"/>
                <a:gd name="T52" fmla="*/ 632 w 1133"/>
                <a:gd name="T53" fmla="*/ 1116 h 1556"/>
                <a:gd name="T54" fmla="*/ 815 w 1133"/>
                <a:gd name="T55" fmla="*/ 1012 h 1556"/>
                <a:gd name="T56" fmla="*/ 767 w 1133"/>
                <a:gd name="T57" fmla="*/ 998 h 1556"/>
                <a:gd name="T58" fmla="*/ 751 w 1133"/>
                <a:gd name="T59" fmla="*/ 924 h 1556"/>
                <a:gd name="T60" fmla="*/ 743 w 1133"/>
                <a:gd name="T61" fmla="*/ 851 h 1556"/>
                <a:gd name="T62" fmla="*/ 766 w 1133"/>
                <a:gd name="T63" fmla="*/ 797 h 1556"/>
                <a:gd name="T64" fmla="*/ 811 w 1133"/>
                <a:gd name="T65" fmla="*/ 773 h 1556"/>
                <a:gd name="T66" fmla="*/ 863 w 1133"/>
                <a:gd name="T67" fmla="*/ 806 h 1556"/>
                <a:gd name="T68" fmla="*/ 902 w 1133"/>
                <a:gd name="T69" fmla="*/ 761 h 1556"/>
                <a:gd name="T70" fmla="*/ 981 w 1133"/>
                <a:gd name="T71" fmla="*/ 777 h 1556"/>
                <a:gd name="T72" fmla="*/ 977 w 1133"/>
                <a:gd name="T73" fmla="*/ 673 h 1556"/>
                <a:gd name="T74" fmla="*/ 1035 w 1133"/>
                <a:gd name="T75" fmla="*/ 607 h 1556"/>
                <a:gd name="T76" fmla="*/ 1133 w 1133"/>
                <a:gd name="T77" fmla="*/ 541 h 1556"/>
                <a:gd name="T78" fmla="*/ 1051 w 1133"/>
                <a:gd name="T79" fmla="*/ 423 h 1556"/>
                <a:gd name="T80" fmla="*/ 926 w 1133"/>
                <a:gd name="T81" fmla="*/ 371 h 155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33"/>
                <a:gd name="T124" fmla="*/ 0 h 1556"/>
                <a:gd name="T125" fmla="*/ 1133 w 1133"/>
                <a:gd name="T126" fmla="*/ 1556 h 155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33" h="1556">
                  <a:moveTo>
                    <a:pt x="931" y="275"/>
                  </a:moveTo>
                  <a:lnTo>
                    <a:pt x="810" y="271"/>
                  </a:lnTo>
                  <a:lnTo>
                    <a:pt x="790" y="218"/>
                  </a:lnTo>
                  <a:lnTo>
                    <a:pt x="731" y="160"/>
                  </a:lnTo>
                  <a:lnTo>
                    <a:pt x="731" y="93"/>
                  </a:lnTo>
                  <a:lnTo>
                    <a:pt x="680" y="68"/>
                  </a:lnTo>
                  <a:lnTo>
                    <a:pt x="658" y="0"/>
                  </a:lnTo>
                  <a:lnTo>
                    <a:pt x="598" y="23"/>
                  </a:lnTo>
                  <a:lnTo>
                    <a:pt x="582" y="44"/>
                  </a:lnTo>
                  <a:lnTo>
                    <a:pt x="524" y="60"/>
                  </a:lnTo>
                  <a:lnTo>
                    <a:pt x="511" y="166"/>
                  </a:lnTo>
                  <a:lnTo>
                    <a:pt x="416" y="166"/>
                  </a:lnTo>
                  <a:lnTo>
                    <a:pt x="388" y="209"/>
                  </a:lnTo>
                  <a:lnTo>
                    <a:pt x="313" y="215"/>
                  </a:lnTo>
                  <a:lnTo>
                    <a:pt x="247" y="289"/>
                  </a:lnTo>
                  <a:lnTo>
                    <a:pt x="168" y="289"/>
                  </a:lnTo>
                  <a:lnTo>
                    <a:pt x="173" y="218"/>
                  </a:lnTo>
                  <a:lnTo>
                    <a:pt x="144" y="185"/>
                  </a:lnTo>
                  <a:lnTo>
                    <a:pt x="100" y="180"/>
                  </a:lnTo>
                  <a:lnTo>
                    <a:pt x="76" y="234"/>
                  </a:lnTo>
                  <a:lnTo>
                    <a:pt x="64" y="287"/>
                  </a:lnTo>
                  <a:lnTo>
                    <a:pt x="21" y="331"/>
                  </a:lnTo>
                  <a:lnTo>
                    <a:pt x="27" y="403"/>
                  </a:lnTo>
                  <a:lnTo>
                    <a:pt x="0" y="430"/>
                  </a:lnTo>
                  <a:lnTo>
                    <a:pt x="57" y="479"/>
                  </a:lnTo>
                  <a:lnTo>
                    <a:pt x="82" y="540"/>
                  </a:lnTo>
                  <a:lnTo>
                    <a:pt x="115" y="600"/>
                  </a:lnTo>
                  <a:lnTo>
                    <a:pt x="39" y="669"/>
                  </a:lnTo>
                  <a:lnTo>
                    <a:pt x="142" y="723"/>
                  </a:lnTo>
                  <a:lnTo>
                    <a:pt x="149" y="829"/>
                  </a:lnTo>
                  <a:lnTo>
                    <a:pt x="110" y="902"/>
                  </a:lnTo>
                  <a:lnTo>
                    <a:pt x="45" y="894"/>
                  </a:lnTo>
                  <a:lnTo>
                    <a:pt x="49" y="986"/>
                  </a:lnTo>
                  <a:lnTo>
                    <a:pt x="12" y="1024"/>
                  </a:lnTo>
                  <a:lnTo>
                    <a:pt x="19" y="1089"/>
                  </a:lnTo>
                  <a:lnTo>
                    <a:pt x="80" y="1120"/>
                  </a:lnTo>
                  <a:lnTo>
                    <a:pt x="142" y="1224"/>
                  </a:lnTo>
                  <a:lnTo>
                    <a:pt x="88" y="1330"/>
                  </a:lnTo>
                  <a:lnTo>
                    <a:pt x="94" y="1414"/>
                  </a:lnTo>
                  <a:lnTo>
                    <a:pt x="61" y="1427"/>
                  </a:lnTo>
                  <a:lnTo>
                    <a:pt x="61" y="1496"/>
                  </a:lnTo>
                  <a:lnTo>
                    <a:pt x="96" y="1527"/>
                  </a:lnTo>
                  <a:lnTo>
                    <a:pt x="151" y="1533"/>
                  </a:lnTo>
                  <a:lnTo>
                    <a:pt x="192" y="1521"/>
                  </a:lnTo>
                  <a:lnTo>
                    <a:pt x="250" y="1556"/>
                  </a:lnTo>
                  <a:lnTo>
                    <a:pt x="351" y="1551"/>
                  </a:lnTo>
                  <a:lnTo>
                    <a:pt x="435" y="1538"/>
                  </a:lnTo>
                  <a:lnTo>
                    <a:pt x="439" y="1496"/>
                  </a:lnTo>
                  <a:lnTo>
                    <a:pt x="405" y="1479"/>
                  </a:lnTo>
                  <a:lnTo>
                    <a:pt x="409" y="1433"/>
                  </a:lnTo>
                  <a:lnTo>
                    <a:pt x="466" y="1371"/>
                  </a:lnTo>
                  <a:lnTo>
                    <a:pt x="502" y="1320"/>
                  </a:lnTo>
                  <a:lnTo>
                    <a:pt x="508" y="1245"/>
                  </a:lnTo>
                  <a:lnTo>
                    <a:pt x="632" y="1116"/>
                  </a:lnTo>
                  <a:lnTo>
                    <a:pt x="755" y="1104"/>
                  </a:lnTo>
                  <a:lnTo>
                    <a:pt x="815" y="1012"/>
                  </a:lnTo>
                  <a:lnTo>
                    <a:pt x="799" y="998"/>
                  </a:lnTo>
                  <a:lnTo>
                    <a:pt x="767" y="998"/>
                  </a:lnTo>
                  <a:lnTo>
                    <a:pt x="754" y="964"/>
                  </a:lnTo>
                  <a:lnTo>
                    <a:pt x="751" y="924"/>
                  </a:lnTo>
                  <a:lnTo>
                    <a:pt x="755" y="882"/>
                  </a:lnTo>
                  <a:lnTo>
                    <a:pt x="743" y="851"/>
                  </a:lnTo>
                  <a:lnTo>
                    <a:pt x="757" y="822"/>
                  </a:lnTo>
                  <a:lnTo>
                    <a:pt x="766" y="797"/>
                  </a:lnTo>
                  <a:lnTo>
                    <a:pt x="790" y="803"/>
                  </a:lnTo>
                  <a:lnTo>
                    <a:pt x="811" y="773"/>
                  </a:lnTo>
                  <a:lnTo>
                    <a:pt x="846" y="773"/>
                  </a:lnTo>
                  <a:lnTo>
                    <a:pt x="863" y="806"/>
                  </a:lnTo>
                  <a:lnTo>
                    <a:pt x="900" y="802"/>
                  </a:lnTo>
                  <a:lnTo>
                    <a:pt x="902" y="761"/>
                  </a:lnTo>
                  <a:lnTo>
                    <a:pt x="934" y="774"/>
                  </a:lnTo>
                  <a:lnTo>
                    <a:pt x="981" y="777"/>
                  </a:lnTo>
                  <a:lnTo>
                    <a:pt x="988" y="742"/>
                  </a:lnTo>
                  <a:lnTo>
                    <a:pt x="977" y="673"/>
                  </a:lnTo>
                  <a:lnTo>
                    <a:pt x="1001" y="637"/>
                  </a:lnTo>
                  <a:lnTo>
                    <a:pt x="1035" y="607"/>
                  </a:lnTo>
                  <a:lnTo>
                    <a:pt x="1081" y="561"/>
                  </a:lnTo>
                  <a:lnTo>
                    <a:pt x="1133" y="541"/>
                  </a:lnTo>
                  <a:lnTo>
                    <a:pt x="1081" y="491"/>
                  </a:lnTo>
                  <a:lnTo>
                    <a:pt x="1051" y="423"/>
                  </a:lnTo>
                  <a:lnTo>
                    <a:pt x="993" y="423"/>
                  </a:lnTo>
                  <a:lnTo>
                    <a:pt x="926" y="371"/>
                  </a:lnTo>
                  <a:lnTo>
                    <a:pt x="931" y="275"/>
                  </a:lnTo>
                  <a:close/>
                </a:path>
              </a:pathLst>
            </a:custGeom>
            <a:solidFill>
              <a:schemeClr val="bg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6" name="Freeform 94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5205" y="2212"/>
              <a:ext cx="91" cy="95"/>
            </a:xfrm>
            <a:custGeom>
              <a:avLst/>
              <a:gdLst>
                <a:gd name="T0" fmla="*/ 44 w 170"/>
                <a:gd name="T1" fmla="*/ 98 h 176"/>
                <a:gd name="T2" fmla="*/ 35 w 170"/>
                <a:gd name="T3" fmla="*/ 56 h 176"/>
                <a:gd name="T4" fmla="*/ 51 w 170"/>
                <a:gd name="T5" fmla="*/ 18 h 176"/>
                <a:gd name="T6" fmla="*/ 81 w 170"/>
                <a:gd name="T7" fmla="*/ 2 h 176"/>
                <a:gd name="T8" fmla="*/ 114 w 170"/>
                <a:gd name="T9" fmla="*/ 0 h 176"/>
                <a:gd name="T10" fmla="*/ 120 w 170"/>
                <a:gd name="T11" fmla="*/ 24 h 176"/>
                <a:gd name="T12" fmla="*/ 170 w 170"/>
                <a:gd name="T13" fmla="*/ 20 h 176"/>
                <a:gd name="T14" fmla="*/ 164 w 170"/>
                <a:gd name="T15" fmla="*/ 59 h 176"/>
                <a:gd name="T16" fmla="*/ 168 w 170"/>
                <a:gd name="T17" fmla="*/ 84 h 176"/>
                <a:gd name="T18" fmla="*/ 153 w 170"/>
                <a:gd name="T19" fmla="*/ 104 h 176"/>
                <a:gd name="T20" fmla="*/ 128 w 170"/>
                <a:gd name="T21" fmla="*/ 105 h 176"/>
                <a:gd name="T22" fmla="*/ 132 w 170"/>
                <a:gd name="T23" fmla="*/ 146 h 176"/>
                <a:gd name="T24" fmla="*/ 110 w 170"/>
                <a:gd name="T25" fmla="*/ 150 h 176"/>
                <a:gd name="T26" fmla="*/ 101 w 170"/>
                <a:gd name="T27" fmla="*/ 176 h 176"/>
                <a:gd name="T28" fmla="*/ 84 w 170"/>
                <a:gd name="T29" fmla="*/ 176 h 176"/>
                <a:gd name="T30" fmla="*/ 69 w 170"/>
                <a:gd name="T31" fmla="*/ 162 h 176"/>
                <a:gd name="T32" fmla="*/ 12 w 170"/>
                <a:gd name="T33" fmla="*/ 161 h 176"/>
                <a:gd name="T34" fmla="*/ 0 w 170"/>
                <a:gd name="T35" fmla="*/ 134 h 176"/>
                <a:gd name="T36" fmla="*/ 12 w 170"/>
                <a:gd name="T37" fmla="*/ 102 h 176"/>
                <a:gd name="T38" fmla="*/ 44 w 170"/>
                <a:gd name="T39" fmla="*/ 98 h 1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0"/>
                <a:gd name="T61" fmla="*/ 0 h 176"/>
                <a:gd name="T62" fmla="*/ 170 w 170"/>
                <a:gd name="T63" fmla="*/ 176 h 17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0" h="176">
                  <a:moveTo>
                    <a:pt x="44" y="98"/>
                  </a:moveTo>
                  <a:lnTo>
                    <a:pt x="35" y="56"/>
                  </a:lnTo>
                  <a:lnTo>
                    <a:pt x="51" y="18"/>
                  </a:lnTo>
                  <a:lnTo>
                    <a:pt x="81" y="2"/>
                  </a:lnTo>
                  <a:lnTo>
                    <a:pt x="114" y="0"/>
                  </a:lnTo>
                  <a:lnTo>
                    <a:pt x="120" y="24"/>
                  </a:lnTo>
                  <a:lnTo>
                    <a:pt x="170" y="20"/>
                  </a:lnTo>
                  <a:lnTo>
                    <a:pt x="164" y="59"/>
                  </a:lnTo>
                  <a:lnTo>
                    <a:pt x="168" y="84"/>
                  </a:lnTo>
                  <a:lnTo>
                    <a:pt x="153" y="104"/>
                  </a:lnTo>
                  <a:lnTo>
                    <a:pt x="128" y="105"/>
                  </a:lnTo>
                  <a:lnTo>
                    <a:pt x="132" y="146"/>
                  </a:lnTo>
                  <a:lnTo>
                    <a:pt x="110" y="150"/>
                  </a:lnTo>
                  <a:lnTo>
                    <a:pt x="101" y="176"/>
                  </a:lnTo>
                  <a:lnTo>
                    <a:pt x="84" y="176"/>
                  </a:lnTo>
                  <a:lnTo>
                    <a:pt x="69" y="162"/>
                  </a:lnTo>
                  <a:lnTo>
                    <a:pt x="12" y="161"/>
                  </a:lnTo>
                  <a:lnTo>
                    <a:pt x="0" y="134"/>
                  </a:lnTo>
                  <a:lnTo>
                    <a:pt x="12" y="102"/>
                  </a:lnTo>
                  <a:lnTo>
                    <a:pt x="44" y="98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17" name="Freeform 95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5277" y="2255"/>
              <a:ext cx="60" cy="95"/>
            </a:xfrm>
            <a:custGeom>
              <a:avLst/>
              <a:gdLst>
                <a:gd name="T0" fmla="*/ 173 w 228"/>
                <a:gd name="T1" fmla="*/ 323 h 361"/>
                <a:gd name="T2" fmla="*/ 161 w 228"/>
                <a:gd name="T3" fmla="*/ 288 h 361"/>
                <a:gd name="T4" fmla="*/ 177 w 228"/>
                <a:gd name="T5" fmla="*/ 258 h 361"/>
                <a:gd name="T6" fmla="*/ 184 w 228"/>
                <a:gd name="T7" fmla="*/ 234 h 361"/>
                <a:gd name="T8" fmla="*/ 208 w 228"/>
                <a:gd name="T9" fmla="*/ 240 h 361"/>
                <a:gd name="T10" fmla="*/ 228 w 228"/>
                <a:gd name="T11" fmla="*/ 210 h 361"/>
                <a:gd name="T12" fmla="*/ 228 w 228"/>
                <a:gd name="T13" fmla="*/ 161 h 361"/>
                <a:gd name="T14" fmla="*/ 192 w 228"/>
                <a:gd name="T15" fmla="*/ 165 h 361"/>
                <a:gd name="T16" fmla="*/ 189 w 228"/>
                <a:gd name="T17" fmla="*/ 117 h 361"/>
                <a:gd name="T18" fmla="*/ 143 w 228"/>
                <a:gd name="T19" fmla="*/ 111 h 361"/>
                <a:gd name="T20" fmla="*/ 131 w 228"/>
                <a:gd name="T21" fmla="*/ 3 h 361"/>
                <a:gd name="T22" fmla="*/ 85 w 228"/>
                <a:gd name="T23" fmla="*/ 0 h 361"/>
                <a:gd name="T24" fmla="*/ 69 w 228"/>
                <a:gd name="T25" fmla="*/ 147 h 361"/>
                <a:gd name="T26" fmla="*/ 8 w 228"/>
                <a:gd name="T27" fmla="*/ 143 h 361"/>
                <a:gd name="T28" fmla="*/ 7 w 228"/>
                <a:gd name="T29" fmla="*/ 208 h 361"/>
                <a:gd name="T30" fmla="*/ 27 w 228"/>
                <a:gd name="T31" fmla="*/ 239 h 361"/>
                <a:gd name="T32" fmla="*/ 0 w 228"/>
                <a:gd name="T33" fmla="*/ 275 h 361"/>
                <a:gd name="T34" fmla="*/ 15 w 228"/>
                <a:gd name="T35" fmla="*/ 330 h 361"/>
                <a:gd name="T36" fmla="*/ 81 w 228"/>
                <a:gd name="T37" fmla="*/ 336 h 361"/>
                <a:gd name="T38" fmla="*/ 168 w 228"/>
                <a:gd name="T39" fmla="*/ 361 h 361"/>
                <a:gd name="T40" fmla="*/ 173 w 228"/>
                <a:gd name="T41" fmla="*/ 323 h 36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8"/>
                <a:gd name="T64" fmla="*/ 0 h 361"/>
                <a:gd name="T65" fmla="*/ 228 w 228"/>
                <a:gd name="T66" fmla="*/ 361 h 36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8" h="361">
                  <a:moveTo>
                    <a:pt x="173" y="323"/>
                  </a:moveTo>
                  <a:lnTo>
                    <a:pt x="161" y="288"/>
                  </a:lnTo>
                  <a:lnTo>
                    <a:pt x="177" y="258"/>
                  </a:lnTo>
                  <a:lnTo>
                    <a:pt x="184" y="234"/>
                  </a:lnTo>
                  <a:lnTo>
                    <a:pt x="208" y="240"/>
                  </a:lnTo>
                  <a:lnTo>
                    <a:pt x="228" y="210"/>
                  </a:lnTo>
                  <a:lnTo>
                    <a:pt x="228" y="161"/>
                  </a:lnTo>
                  <a:lnTo>
                    <a:pt x="192" y="165"/>
                  </a:lnTo>
                  <a:lnTo>
                    <a:pt x="189" y="117"/>
                  </a:lnTo>
                  <a:lnTo>
                    <a:pt x="143" y="111"/>
                  </a:lnTo>
                  <a:lnTo>
                    <a:pt x="131" y="3"/>
                  </a:lnTo>
                  <a:lnTo>
                    <a:pt x="85" y="0"/>
                  </a:lnTo>
                  <a:lnTo>
                    <a:pt x="69" y="147"/>
                  </a:lnTo>
                  <a:lnTo>
                    <a:pt x="8" y="143"/>
                  </a:lnTo>
                  <a:lnTo>
                    <a:pt x="7" y="208"/>
                  </a:lnTo>
                  <a:lnTo>
                    <a:pt x="27" y="239"/>
                  </a:lnTo>
                  <a:lnTo>
                    <a:pt x="0" y="275"/>
                  </a:lnTo>
                  <a:lnTo>
                    <a:pt x="15" y="330"/>
                  </a:lnTo>
                  <a:lnTo>
                    <a:pt x="81" y="336"/>
                  </a:lnTo>
                  <a:lnTo>
                    <a:pt x="168" y="361"/>
                  </a:lnTo>
                  <a:lnTo>
                    <a:pt x="173" y="32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zh-CN" altLang="en-US"/>
            </a:p>
          </p:txBody>
        </p:sp>
        <p:sp>
          <p:nvSpPr>
            <p:cNvPr id="18" name="Freeform 96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5216" y="2374"/>
              <a:ext cx="364" cy="235"/>
            </a:xfrm>
            <a:custGeom>
              <a:avLst/>
              <a:gdLst>
                <a:gd name="T0" fmla="*/ 301 w 1036"/>
                <a:gd name="T1" fmla="*/ 71 h 668"/>
                <a:gd name="T2" fmla="*/ 370 w 1036"/>
                <a:gd name="T3" fmla="*/ 41 h 668"/>
                <a:gd name="T4" fmla="*/ 411 w 1036"/>
                <a:gd name="T5" fmla="*/ 20 h 668"/>
                <a:gd name="T6" fmla="*/ 442 w 1036"/>
                <a:gd name="T7" fmla="*/ 48 h 668"/>
                <a:gd name="T8" fmla="*/ 497 w 1036"/>
                <a:gd name="T9" fmla="*/ 74 h 668"/>
                <a:gd name="T10" fmla="*/ 526 w 1036"/>
                <a:gd name="T11" fmla="*/ 112 h 668"/>
                <a:gd name="T12" fmla="*/ 548 w 1036"/>
                <a:gd name="T13" fmla="*/ 163 h 668"/>
                <a:gd name="T14" fmla="*/ 603 w 1036"/>
                <a:gd name="T15" fmla="*/ 175 h 668"/>
                <a:gd name="T16" fmla="*/ 649 w 1036"/>
                <a:gd name="T17" fmla="*/ 149 h 668"/>
                <a:gd name="T18" fmla="*/ 665 w 1036"/>
                <a:gd name="T19" fmla="*/ 106 h 668"/>
                <a:gd name="T20" fmla="*/ 704 w 1036"/>
                <a:gd name="T21" fmla="*/ 74 h 668"/>
                <a:gd name="T22" fmla="*/ 723 w 1036"/>
                <a:gd name="T23" fmla="*/ 20 h 668"/>
                <a:gd name="T24" fmla="*/ 778 w 1036"/>
                <a:gd name="T25" fmla="*/ 0 h 668"/>
                <a:gd name="T26" fmla="*/ 826 w 1036"/>
                <a:gd name="T27" fmla="*/ 48 h 668"/>
                <a:gd name="T28" fmla="*/ 876 w 1036"/>
                <a:gd name="T29" fmla="*/ 66 h 668"/>
                <a:gd name="T30" fmla="*/ 945 w 1036"/>
                <a:gd name="T31" fmla="*/ 43 h 668"/>
                <a:gd name="T32" fmla="*/ 995 w 1036"/>
                <a:gd name="T33" fmla="*/ 34 h 668"/>
                <a:gd name="T34" fmla="*/ 1033 w 1036"/>
                <a:gd name="T35" fmla="*/ 74 h 668"/>
                <a:gd name="T36" fmla="*/ 1018 w 1036"/>
                <a:gd name="T37" fmla="*/ 129 h 668"/>
                <a:gd name="T38" fmla="*/ 962 w 1036"/>
                <a:gd name="T39" fmla="*/ 121 h 668"/>
                <a:gd name="T40" fmla="*/ 913 w 1036"/>
                <a:gd name="T41" fmla="*/ 158 h 668"/>
                <a:gd name="T42" fmla="*/ 876 w 1036"/>
                <a:gd name="T43" fmla="*/ 177 h 668"/>
                <a:gd name="T44" fmla="*/ 847 w 1036"/>
                <a:gd name="T45" fmla="*/ 200 h 668"/>
                <a:gd name="T46" fmla="*/ 792 w 1036"/>
                <a:gd name="T47" fmla="*/ 218 h 668"/>
                <a:gd name="T48" fmla="*/ 780 w 1036"/>
                <a:gd name="T49" fmla="*/ 319 h 668"/>
                <a:gd name="T50" fmla="*/ 741 w 1036"/>
                <a:gd name="T51" fmla="*/ 356 h 668"/>
                <a:gd name="T52" fmla="*/ 700 w 1036"/>
                <a:gd name="T53" fmla="*/ 392 h 668"/>
                <a:gd name="T54" fmla="*/ 672 w 1036"/>
                <a:gd name="T55" fmla="*/ 428 h 668"/>
                <a:gd name="T56" fmla="*/ 649 w 1036"/>
                <a:gd name="T57" fmla="*/ 476 h 668"/>
                <a:gd name="T58" fmla="*/ 608 w 1036"/>
                <a:gd name="T59" fmla="*/ 499 h 668"/>
                <a:gd name="T60" fmla="*/ 586 w 1036"/>
                <a:gd name="T61" fmla="*/ 567 h 668"/>
                <a:gd name="T62" fmla="*/ 536 w 1036"/>
                <a:gd name="T63" fmla="*/ 645 h 668"/>
                <a:gd name="T64" fmla="*/ 485 w 1036"/>
                <a:gd name="T65" fmla="*/ 608 h 668"/>
                <a:gd name="T66" fmla="*/ 424 w 1036"/>
                <a:gd name="T67" fmla="*/ 651 h 668"/>
                <a:gd name="T68" fmla="*/ 328 w 1036"/>
                <a:gd name="T69" fmla="*/ 596 h 668"/>
                <a:gd name="T70" fmla="*/ 230 w 1036"/>
                <a:gd name="T71" fmla="*/ 610 h 668"/>
                <a:gd name="T72" fmla="*/ 152 w 1036"/>
                <a:gd name="T73" fmla="*/ 642 h 668"/>
                <a:gd name="T74" fmla="*/ 111 w 1036"/>
                <a:gd name="T75" fmla="*/ 665 h 668"/>
                <a:gd name="T76" fmla="*/ 0 w 1036"/>
                <a:gd name="T77" fmla="*/ 617 h 668"/>
                <a:gd name="T78" fmla="*/ 99 w 1036"/>
                <a:gd name="T79" fmla="*/ 470 h 668"/>
                <a:gd name="T80" fmla="*/ 60 w 1036"/>
                <a:gd name="T81" fmla="*/ 444 h 668"/>
                <a:gd name="T82" fmla="*/ 63 w 1036"/>
                <a:gd name="T83" fmla="*/ 366 h 668"/>
                <a:gd name="T84" fmla="*/ 41 w 1036"/>
                <a:gd name="T85" fmla="*/ 318 h 668"/>
                <a:gd name="T86" fmla="*/ 111 w 1036"/>
                <a:gd name="T87" fmla="*/ 232 h 668"/>
                <a:gd name="T88" fmla="*/ 210 w 1036"/>
                <a:gd name="T89" fmla="*/ 80 h 6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36"/>
                <a:gd name="T136" fmla="*/ 0 h 668"/>
                <a:gd name="T137" fmla="*/ 1036 w 1036"/>
                <a:gd name="T138" fmla="*/ 668 h 66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36" h="668">
                  <a:moveTo>
                    <a:pt x="210" y="80"/>
                  </a:moveTo>
                  <a:lnTo>
                    <a:pt x="301" y="71"/>
                  </a:lnTo>
                  <a:lnTo>
                    <a:pt x="346" y="2"/>
                  </a:lnTo>
                  <a:lnTo>
                    <a:pt x="370" y="41"/>
                  </a:lnTo>
                  <a:lnTo>
                    <a:pt x="396" y="43"/>
                  </a:lnTo>
                  <a:lnTo>
                    <a:pt x="411" y="20"/>
                  </a:lnTo>
                  <a:lnTo>
                    <a:pt x="444" y="28"/>
                  </a:lnTo>
                  <a:lnTo>
                    <a:pt x="442" y="48"/>
                  </a:lnTo>
                  <a:lnTo>
                    <a:pt x="502" y="37"/>
                  </a:lnTo>
                  <a:lnTo>
                    <a:pt x="497" y="74"/>
                  </a:lnTo>
                  <a:lnTo>
                    <a:pt x="522" y="71"/>
                  </a:lnTo>
                  <a:lnTo>
                    <a:pt x="526" y="112"/>
                  </a:lnTo>
                  <a:lnTo>
                    <a:pt x="517" y="147"/>
                  </a:lnTo>
                  <a:lnTo>
                    <a:pt x="548" y="163"/>
                  </a:lnTo>
                  <a:lnTo>
                    <a:pt x="585" y="152"/>
                  </a:lnTo>
                  <a:lnTo>
                    <a:pt x="603" y="175"/>
                  </a:lnTo>
                  <a:lnTo>
                    <a:pt x="631" y="172"/>
                  </a:lnTo>
                  <a:lnTo>
                    <a:pt x="649" y="149"/>
                  </a:lnTo>
                  <a:lnTo>
                    <a:pt x="677" y="140"/>
                  </a:lnTo>
                  <a:lnTo>
                    <a:pt x="665" y="106"/>
                  </a:lnTo>
                  <a:lnTo>
                    <a:pt x="681" y="88"/>
                  </a:lnTo>
                  <a:lnTo>
                    <a:pt x="704" y="74"/>
                  </a:lnTo>
                  <a:lnTo>
                    <a:pt x="701" y="43"/>
                  </a:lnTo>
                  <a:lnTo>
                    <a:pt x="723" y="20"/>
                  </a:lnTo>
                  <a:lnTo>
                    <a:pt x="743" y="25"/>
                  </a:lnTo>
                  <a:lnTo>
                    <a:pt x="778" y="0"/>
                  </a:lnTo>
                  <a:lnTo>
                    <a:pt x="812" y="11"/>
                  </a:lnTo>
                  <a:lnTo>
                    <a:pt x="826" y="48"/>
                  </a:lnTo>
                  <a:lnTo>
                    <a:pt x="853" y="38"/>
                  </a:lnTo>
                  <a:lnTo>
                    <a:pt x="876" y="66"/>
                  </a:lnTo>
                  <a:lnTo>
                    <a:pt x="895" y="43"/>
                  </a:lnTo>
                  <a:lnTo>
                    <a:pt x="945" y="43"/>
                  </a:lnTo>
                  <a:lnTo>
                    <a:pt x="958" y="15"/>
                  </a:lnTo>
                  <a:lnTo>
                    <a:pt x="995" y="34"/>
                  </a:lnTo>
                  <a:lnTo>
                    <a:pt x="1036" y="32"/>
                  </a:lnTo>
                  <a:lnTo>
                    <a:pt x="1033" y="74"/>
                  </a:lnTo>
                  <a:lnTo>
                    <a:pt x="1018" y="84"/>
                  </a:lnTo>
                  <a:lnTo>
                    <a:pt x="1018" y="129"/>
                  </a:lnTo>
                  <a:lnTo>
                    <a:pt x="987" y="120"/>
                  </a:lnTo>
                  <a:lnTo>
                    <a:pt x="962" y="121"/>
                  </a:lnTo>
                  <a:lnTo>
                    <a:pt x="945" y="154"/>
                  </a:lnTo>
                  <a:lnTo>
                    <a:pt x="913" y="158"/>
                  </a:lnTo>
                  <a:lnTo>
                    <a:pt x="902" y="180"/>
                  </a:lnTo>
                  <a:lnTo>
                    <a:pt x="876" y="177"/>
                  </a:lnTo>
                  <a:lnTo>
                    <a:pt x="872" y="200"/>
                  </a:lnTo>
                  <a:lnTo>
                    <a:pt x="847" y="200"/>
                  </a:lnTo>
                  <a:lnTo>
                    <a:pt x="833" y="227"/>
                  </a:lnTo>
                  <a:lnTo>
                    <a:pt x="792" y="218"/>
                  </a:lnTo>
                  <a:lnTo>
                    <a:pt x="797" y="299"/>
                  </a:lnTo>
                  <a:lnTo>
                    <a:pt x="780" y="319"/>
                  </a:lnTo>
                  <a:lnTo>
                    <a:pt x="734" y="292"/>
                  </a:lnTo>
                  <a:lnTo>
                    <a:pt x="741" y="356"/>
                  </a:lnTo>
                  <a:lnTo>
                    <a:pt x="732" y="392"/>
                  </a:lnTo>
                  <a:lnTo>
                    <a:pt x="700" y="392"/>
                  </a:lnTo>
                  <a:lnTo>
                    <a:pt x="704" y="424"/>
                  </a:lnTo>
                  <a:lnTo>
                    <a:pt x="672" y="428"/>
                  </a:lnTo>
                  <a:lnTo>
                    <a:pt x="674" y="470"/>
                  </a:lnTo>
                  <a:lnTo>
                    <a:pt x="649" y="476"/>
                  </a:lnTo>
                  <a:lnTo>
                    <a:pt x="635" y="507"/>
                  </a:lnTo>
                  <a:lnTo>
                    <a:pt x="608" y="499"/>
                  </a:lnTo>
                  <a:lnTo>
                    <a:pt x="582" y="530"/>
                  </a:lnTo>
                  <a:lnTo>
                    <a:pt x="586" y="567"/>
                  </a:lnTo>
                  <a:lnTo>
                    <a:pt x="539" y="590"/>
                  </a:lnTo>
                  <a:lnTo>
                    <a:pt x="536" y="645"/>
                  </a:lnTo>
                  <a:lnTo>
                    <a:pt x="508" y="650"/>
                  </a:lnTo>
                  <a:lnTo>
                    <a:pt x="485" y="608"/>
                  </a:lnTo>
                  <a:lnTo>
                    <a:pt x="444" y="614"/>
                  </a:lnTo>
                  <a:lnTo>
                    <a:pt x="424" y="651"/>
                  </a:lnTo>
                  <a:lnTo>
                    <a:pt x="364" y="651"/>
                  </a:lnTo>
                  <a:lnTo>
                    <a:pt x="328" y="596"/>
                  </a:lnTo>
                  <a:lnTo>
                    <a:pt x="276" y="576"/>
                  </a:lnTo>
                  <a:lnTo>
                    <a:pt x="230" y="610"/>
                  </a:lnTo>
                  <a:lnTo>
                    <a:pt x="223" y="668"/>
                  </a:lnTo>
                  <a:lnTo>
                    <a:pt x="152" y="642"/>
                  </a:lnTo>
                  <a:lnTo>
                    <a:pt x="152" y="665"/>
                  </a:lnTo>
                  <a:lnTo>
                    <a:pt x="111" y="665"/>
                  </a:lnTo>
                  <a:lnTo>
                    <a:pt x="66" y="608"/>
                  </a:lnTo>
                  <a:lnTo>
                    <a:pt x="0" y="617"/>
                  </a:lnTo>
                  <a:lnTo>
                    <a:pt x="10" y="551"/>
                  </a:lnTo>
                  <a:lnTo>
                    <a:pt x="99" y="470"/>
                  </a:lnTo>
                  <a:lnTo>
                    <a:pt x="152" y="393"/>
                  </a:lnTo>
                  <a:lnTo>
                    <a:pt x="60" y="444"/>
                  </a:lnTo>
                  <a:lnTo>
                    <a:pt x="60" y="395"/>
                  </a:lnTo>
                  <a:lnTo>
                    <a:pt x="63" y="366"/>
                  </a:lnTo>
                  <a:lnTo>
                    <a:pt x="37" y="352"/>
                  </a:lnTo>
                  <a:lnTo>
                    <a:pt x="41" y="318"/>
                  </a:lnTo>
                  <a:lnTo>
                    <a:pt x="84" y="270"/>
                  </a:lnTo>
                  <a:lnTo>
                    <a:pt x="111" y="232"/>
                  </a:lnTo>
                  <a:lnTo>
                    <a:pt x="115" y="177"/>
                  </a:lnTo>
                  <a:lnTo>
                    <a:pt x="210" y="8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zh-CN" altLang="en-US"/>
            </a:p>
          </p:txBody>
        </p:sp>
        <p:sp>
          <p:nvSpPr>
            <p:cNvPr id="19" name="Freeform 97" descr="5%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5569" y="2752"/>
              <a:ext cx="53" cy="46"/>
            </a:xfrm>
            <a:custGeom>
              <a:avLst/>
              <a:gdLst>
                <a:gd name="T0" fmla="*/ 61 w 196"/>
                <a:gd name="T1" fmla="*/ 0 h 177"/>
                <a:gd name="T2" fmla="*/ 110 w 196"/>
                <a:gd name="T3" fmla="*/ 33 h 177"/>
                <a:gd name="T4" fmla="*/ 164 w 196"/>
                <a:gd name="T5" fmla="*/ 45 h 177"/>
                <a:gd name="T6" fmla="*/ 196 w 196"/>
                <a:gd name="T7" fmla="*/ 70 h 177"/>
                <a:gd name="T8" fmla="*/ 179 w 196"/>
                <a:gd name="T9" fmla="*/ 129 h 177"/>
                <a:gd name="T10" fmla="*/ 138 w 196"/>
                <a:gd name="T11" fmla="*/ 121 h 177"/>
                <a:gd name="T12" fmla="*/ 135 w 196"/>
                <a:gd name="T13" fmla="*/ 165 h 177"/>
                <a:gd name="T14" fmla="*/ 84 w 196"/>
                <a:gd name="T15" fmla="*/ 177 h 177"/>
                <a:gd name="T16" fmla="*/ 42 w 196"/>
                <a:gd name="T17" fmla="*/ 144 h 177"/>
                <a:gd name="T18" fmla="*/ 0 w 196"/>
                <a:gd name="T19" fmla="*/ 156 h 177"/>
                <a:gd name="T20" fmla="*/ 13 w 196"/>
                <a:gd name="T21" fmla="*/ 68 h 177"/>
                <a:gd name="T22" fmla="*/ 61 w 196"/>
                <a:gd name="T23" fmla="*/ 0 h 17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96"/>
                <a:gd name="T37" fmla="*/ 0 h 177"/>
                <a:gd name="T38" fmla="*/ 196 w 196"/>
                <a:gd name="T39" fmla="*/ 177 h 17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96" h="177">
                  <a:moveTo>
                    <a:pt x="61" y="0"/>
                  </a:moveTo>
                  <a:lnTo>
                    <a:pt x="110" y="33"/>
                  </a:lnTo>
                  <a:lnTo>
                    <a:pt x="164" y="45"/>
                  </a:lnTo>
                  <a:lnTo>
                    <a:pt x="196" y="70"/>
                  </a:lnTo>
                  <a:lnTo>
                    <a:pt x="179" y="129"/>
                  </a:lnTo>
                  <a:lnTo>
                    <a:pt x="138" y="121"/>
                  </a:lnTo>
                  <a:lnTo>
                    <a:pt x="135" y="165"/>
                  </a:lnTo>
                  <a:lnTo>
                    <a:pt x="84" y="177"/>
                  </a:lnTo>
                  <a:lnTo>
                    <a:pt x="42" y="144"/>
                  </a:lnTo>
                  <a:lnTo>
                    <a:pt x="0" y="156"/>
                  </a:lnTo>
                  <a:lnTo>
                    <a:pt x="13" y="68"/>
                  </a:lnTo>
                  <a:lnTo>
                    <a:pt x="61" y="0"/>
                  </a:lnTo>
                  <a:close/>
                </a:path>
              </a:pathLst>
            </a:custGeom>
            <a:pattFill prst="pct5">
              <a:fgClr>
                <a:srgbClr val="000000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0" name="Freeform 98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5296" y="2550"/>
              <a:ext cx="309" cy="249"/>
            </a:xfrm>
            <a:custGeom>
              <a:avLst/>
              <a:gdLst>
                <a:gd name="T0" fmla="*/ 550 w 1183"/>
                <a:gd name="T1" fmla="*/ 79 h 941"/>
                <a:gd name="T2" fmla="*/ 613 w 1183"/>
                <a:gd name="T3" fmla="*/ 132 h 941"/>
                <a:gd name="T4" fmla="*/ 717 w 1183"/>
                <a:gd name="T5" fmla="*/ 125 h 941"/>
                <a:gd name="T6" fmla="*/ 777 w 1183"/>
                <a:gd name="T7" fmla="*/ 153 h 941"/>
                <a:gd name="T8" fmla="*/ 808 w 1183"/>
                <a:gd name="T9" fmla="*/ 254 h 941"/>
                <a:gd name="T10" fmla="*/ 899 w 1183"/>
                <a:gd name="T11" fmla="*/ 379 h 941"/>
                <a:gd name="T12" fmla="*/ 954 w 1183"/>
                <a:gd name="T13" fmla="*/ 476 h 941"/>
                <a:gd name="T14" fmla="*/ 978 w 1183"/>
                <a:gd name="T15" fmla="*/ 511 h 941"/>
                <a:gd name="T16" fmla="*/ 1042 w 1183"/>
                <a:gd name="T17" fmla="*/ 530 h 941"/>
                <a:gd name="T18" fmla="*/ 1077 w 1183"/>
                <a:gd name="T19" fmla="*/ 575 h 941"/>
                <a:gd name="T20" fmla="*/ 1107 w 1183"/>
                <a:gd name="T21" fmla="*/ 628 h 941"/>
                <a:gd name="T22" fmla="*/ 1183 w 1183"/>
                <a:gd name="T23" fmla="*/ 643 h 941"/>
                <a:gd name="T24" fmla="*/ 1132 w 1183"/>
                <a:gd name="T25" fmla="*/ 673 h 941"/>
                <a:gd name="T26" fmla="*/ 1026 w 1183"/>
                <a:gd name="T27" fmla="*/ 695 h 941"/>
                <a:gd name="T28" fmla="*/ 925 w 1183"/>
                <a:gd name="T29" fmla="*/ 674 h 941"/>
                <a:gd name="T30" fmla="*/ 1048 w 1183"/>
                <a:gd name="T31" fmla="*/ 722 h 941"/>
                <a:gd name="T32" fmla="*/ 1102 w 1183"/>
                <a:gd name="T33" fmla="*/ 762 h 941"/>
                <a:gd name="T34" fmla="*/ 1041 w 1183"/>
                <a:gd name="T35" fmla="*/ 918 h 941"/>
                <a:gd name="T36" fmla="*/ 943 w 1183"/>
                <a:gd name="T37" fmla="*/ 923 h 941"/>
                <a:gd name="T38" fmla="*/ 821 w 1183"/>
                <a:gd name="T39" fmla="*/ 891 h 941"/>
                <a:gd name="T40" fmla="*/ 752 w 1183"/>
                <a:gd name="T41" fmla="*/ 891 h 941"/>
                <a:gd name="T42" fmla="*/ 644 w 1183"/>
                <a:gd name="T43" fmla="*/ 915 h 941"/>
                <a:gd name="T44" fmla="*/ 617 w 1183"/>
                <a:gd name="T45" fmla="*/ 812 h 941"/>
                <a:gd name="T46" fmla="*/ 513 w 1183"/>
                <a:gd name="T47" fmla="*/ 687 h 941"/>
                <a:gd name="T48" fmla="*/ 623 w 1183"/>
                <a:gd name="T49" fmla="*/ 603 h 941"/>
                <a:gd name="T50" fmla="*/ 564 w 1183"/>
                <a:gd name="T51" fmla="*/ 499 h 941"/>
                <a:gd name="T52" fmla="*/ 459 w 1183"/>
                <a:gd name="T53" fmla="*/ 555 h 941"/>
                <a:gd name="T54" fmla="*/ 390 w 1183"/>
                <a:gd name="T55" fmla="*/ 483 h 941"/>
                <a:gd name="T56" fmla="*/ 326 w 1183"/>
                <a:gd name="T57" fmla="*/ 361 h 941"/>
                <a:gd name="T58" fmla="*/ 190 w 1183"/>
                <a:gd name="T59" fmla="*/ 311 h 941"/>
                <a:gd name="T60" fmla="*/ 0 w 1183"/>
                <a:gd name="T61" fmla="*/ 185 h 941"/>
                <a:gd name="T62" fmla="*/ 66 w 1183"/>
                <a:gd name="T63" fmla="*/ 101 h 941"/>
                <a:gd name="T64" fmla="*/ 182 w 1183"/>
                <a:gd name="T65" fmla="*/ 201 h 941"/>
                <a:gd name="T66" fmla="*/ 289 w 1183"/>
                <a:gd name="T67" fmla="*/ 152 h 941"/>
                <a:gd name="T68" fmla="*/ 375 w 1183"/>
                <a:gd name="T69" fmla="*/ 200 h 941"/>
                <a:gd name="T70" fmla="*/ 415 w 1183"/>
                <a:gd name="T71" fmla="*/ 119 h 941"/>
                <a:gd name="T72" fmla="*/ 472 w 1183"/>
                <a:gd name="T73" fmla="*/ 40 h 941"/>
                <a:gd name="T74" fmla="*/ 543 w 1183"/>
                <a:gd name="T75" fmla="*/ 9 h 94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83"/>
                <a:gd name="T115" fmla="*/ 0 h 941"/>
                <a:gd name="T116" fmla="*/ 1183 w 1183"/>
                <a:gd name="T117" fmla="*/ 941 h 94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83" h="941">
                  <a:moveTo>
                    <a:pt x="543" y="9"/>
                  </a:moveTo>
                  <a:lnTo>
                    <a:pt x="550" y="79"/>
                  </a:lnTo>
                  <a:lnTo>
                    <a:pt x="587" y="82"/>
                  </a:lnTo>
                  <a:lnTo>
                    <a:pt x="613" y="132"/>
                  </a:lnTo>
                  <a:lnTo>
                    <a:pt x="675" y="132"/>
                  </a:lnTo>
                  <a:lnTo>
                    <a:pt x="717" y="125"/>
                  </a:lnTo>
                  <a:lnTo>
                    <a:pt x="721" y="158"/>
                  </a:lnTo>
                  <a:lnTo>
                    <a:pt x="777" y="153"/>
                  </a:lnTo>
                  <a:lnTo>
                    <a:pt x="809" y="196"/>
                  </a:lnTo>
                  <a:lnTo>
                    <a:pt x="808" y="254"/>
                  </a:lnTo>
                  <a:lnTo>
                    <a:pt x="870" y="323"/>
                  </a:lnTo>
                  <a:lnTo>
                    <a:pt x="899" y="379"/>
                  </a:lnTo>
                  <a:lnTo>
                    <a:pt x="942" y="438"/>
                  </a:lnTo>
                  <a:lnTo>
                    <a:pt x="954" y="476"/>
                  </a:lnTo>
                  <a:lnTo>
                    <a:pt x="942" y="514"/>
                  </a:lnTo>
                  <a:lnTo>
                    <a:pt x="978" y="511"/>
                  </a:lnTo>
                  <a:lnTo>
                    <a:pt x="973" y="542"/>
                  </a:lnTo>
                  <a:lnTo>
                    <a:pt x="1042" y="530"/>
                  </a:lnTo>
                  <a:lnTo>
                    <a:pt x="1054" y="556"/>
                  </a:lnTo>
                  <a:lnTo>
                    <a:pt x="1077" y="575"/>
                  </a:lnTo>
                  <a:lnTo>
                    <a:pt x="1073" y="605"/>
                  </a:lnTo>
                  <a:lnTo>
                    <a:pt x="1107" y="628"/>
                  </a:lnTo>
                  <a:lnTo>
                    <a:pt x="1163" y="628"/>
                  </a:lnTo>
                  <a:lnTo>
                    <a:pt x="1183" y="643"/>
                  </a:lnTo>
                  <a:lnTo>
                    <a:pt x="1180" y="683"/>
                  </a:lnTo>
                  <a:lnTo>
                    <a:pt x="1132" y="673"/>
                  </a:lnTo>
                  <a:lnTo>
                    <a:pt x="1102" y="689"/>
                  </a:lnTo>
                  <a:lnTo>
                    <a:pt x="1026" y="695"/>
                  </a:lnTo>
                  <a:lnTo>
                    <a:pt x="985" y="670"/>
                  </a:lnTo>
                  <a:lnTo>
                    <a:pt x="925" y="674"/>
                  </a:lnTo>
                  <a:lnTo>
                    <a:pt x="973" y="719"/>
                  </a:lnTo>
                  <a:lnTo>
                    <a:pt x="1048" y="722"/>
                  </a:lnTo>
                  <a:lnTo>
                    <a:pt x="1083" y="734"/>
                  </a:lnTo>
                  <a:lnTo>
                    <a:pt x="1102" y="762"/>
                  </a:lnTo>
                  <a:lnTo>
                    <a:pt x="1054" y="830"/>
                  </a:lnTo>
                  <a:lnTo>
                    <a:pt x="1041" y="918"/>
                  </a:lnTo>
                  <a:lnTo>
                    <a:pt x="997" y="941"/>
                  </a:lnTo>
                  <a:lnTo>
                    <a:pt x="943" y="923"/>
                  </a:lnTo>
                  <a:lnTo>
                    <a:pt x="877" y="935"/>
                  </a:lnTo>
                  <a:lnTo>
                    <a:pt x="821" y="891"/>
                  </a:lnTo>
                  <a:lnTo>
                    <a:pt x="786" y="917"/>
                  </a:lnTo>
                  <a:lnTo>
                    <a:pt x="752" y="891"/>
                  </a:lnTo>
                  <a:lnTo>
                    <a:pt x="697" y="881"/>
                  </a:lnTo>
                  <a:lnTo>
                    <a:pt x="644" y="915"/>
                  </a:lnTo>
                  <a:lnTo>
                    <a:pt x="607" y="891"/>
                  </a:lnTo>
                  <a:lnTo>
                    <a:pt x="617" y="812"/>
                  </a:lnTo>
                  <a:lnTo>
                    <a:pt x="513" y="784"/>
                  </a:lnTo>
                  <a:lnTo>
                    <a:pt x="513" y="687"/>
                  </a:lnTo>
                  <a:lnTo>
                    <a:pt x="539" y="609"/>
                  </a:lnTo>
                  <a:lnTo>
                    <a:pt x="623" y="603"/>
                  </a:lnTo>
                  <a:lnTo>
                    <a:pt x="617" y="507"/>
                  </a:lnTo>
                  <a:lnTo>
                    <a:pt x="564" y="499"/>
                  </a:lnTo>
                  <a:lnTo>
                    <a:pt x="552" y="555"/>
                  </a:lnTo>
                  <a:lnTo>
                    <a:pt x="459" y="555"/>
                  </a:lnTo>
                  <a:lnTo>
                    <a:pt x="435" y="487"/>
                  </a:lnTo>
                  <a:lnTo>
                    <a:pt x="390" y="483"/>
                  </a:lnTo>
                  <a:lnTo>
                    <a:pt x="390" y="361"/>
                  </a:lnTo>
                  <a:lnTo>
                    <a:pt x="326" y="361"/>
                  </a:lnTo>
                  <a:lnTo>
                    <a:pt x="277" y="309"/>
                  </a:lnTo>
                  <a:lnTo>
                    <a:pt x="190" y="311"/>
                  </a:lnTo>
                  <a:lnTo>
                    <a:pt x="110" y="225"/>
                  </a:lnTo>
                  <a:lnTo>
                    <a:pt x="0" y="185"/>
                  </a:lnTo>
                  <a:lnTo>
                    <a:pt x="5" y="145"/>
                  </a:lnTo>
                  <a:lnTo>
                    <a:pt x="66" y="101"/>
                  </a:lnTo>
                  <a:lnTo>
                    <a:pt x="136" y="130"/>
                  </a:lnTo>
                  <a:lnTo>
                    <a:pt x="182" y="201"/>
                  </a:lnTo>
                  <a:lnTo>
                    <a:pt x="265" y="201"/>
                  </a:lnTo>
                  <a:lnTo>
                    <a:pt x="289" y="152"/>
                  </a:lnTo>
                  <a:lnTo>
                    <a:pt x="345" y="145"/>
                  </a:lnTo>
                  <a:lnTo>
                    <a:pt x="375" y="200"/>
                  </a:lnTo>
                  <a:lnTo>
                    <a:pt x="411" y="194"/>
                  </a:lnTo>
                  <a:lnTo>
                    <a:pt x="415" y="119"/>
                  </a:lnTo>
                  <a:lnTo>
                    <a:pt x="478" y="89"/>
                  </a:lnTo>
                  <a:lnTo>
                    <a:pt x="472" y="40"/>
                  </a:lnTo>
                  <a:lnTo>
                    <a:pt x="505" y="0"/>
                  </a:lnTo>
                  <a:lnTo>
                    <a:pt x="543" y="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1" name="Freeform 99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4699" y="3137"/>
              <a:ext cx="428" cy="325"/>
            </a:xfrm>
            <a:custGeom>
              <a:avLst/>
              <a:gdLst>
                <a:gd name="T0" fmla="*/ 1153 w 1626"/>
                <a:gd name="T1" fmla="*/ 1165 h 1227"/>
                <a:gd name="T2" fmla="*/ 1133 w 1626"/>
                <a:gd name="T3" fmla="*/ 1190 h 1227"/>
                <a:gd name="T4" fmla="*/ 1050 w 1626"/>
                <a:gd name="T5" fmla="*/ 1207 h 1227"/>
                <a:gd name="T6" fmla="*/ 961 w 1626"/>
                <a:gd name="T7" fmla="*/ 1163 h 1227"/>
                <a:gd name="T8" fmla="*/ 915 w 1626"/>
                <a:gd name="T9" fmla="*/ 1165 h 1227"/>
                <a:gd name="T10" fmla="*/ 850 w 1626"/>
                <a:gd name="T11" fmla="*/ 1193 h 1227"/>
                <a:gd name="T12" fmla="*/ 796 w 1626"/>
                <a:gd name="T13" fmla="*/ 1208 h 1227"/>
                <a:gd name="T14" fmla="*/ 741 w 1626"/>
                <a:gd name="T15" fmla="*/ 1165 h 1227"/>
                <a:gd name="T16" fmla="*/ 667 w 1626"/>
                <a:gd name="T17" fmla="*/ 1157 h 1227"/>
                <a:gd name="T18" fmla="*/ 577 w 1626"/>
                <a:gd name="T19" fmla="*/ 1153 h 1227"/>
                <a:gd name="T20" fmla="*/ 552 w 1626"/>
                <a:gd name="T21" fmla="*/ 1097 h 1227"/>
                <a:gd name="T22" fmla="*/ 505 w 1626"/>
                <a:gd name="T23" fmla="*/ 1047 h 1227"/>
                <a:gd name="T24" fmla="*/ 478 w 1626"/>
                <a:gd name="T25" fmla="*/ 979 h 1227"/>
                <a:gd name="T26" fmla="*/ 516 w 1626"/>
                <a:gd name="T27" fmla="*/ 935 h 1227"/>
                <a:gd name="T28" fmla="*/ 489 w 1626"/>
                <a:gd name="T29" fmla="*/ 893 h 1227"/>
                <a:gd name="T30" fmla="*/ 388 w 1626"/>
                <a:gd name="T31" fmla="*/ 904 h 1227"/>
                <a:gd name="T32" fmla="*/ 288 w 1626"/>
                <a:gd name="T33" fmla="*/ 889 h 1227"/>
                <a:gd name="T34" fmla="*/ 238 w 1626"/>
                <a:gd name="T35" fmla="*/ 853 h 1227"/>
                <a:gd name="T36" fmla="*/ 282 w 1626"/>
                <a:gd name="T37" fmla="*/ 748 h 1227"/>
                <a:gd name="T38" fmla="*/ 361 w 1626"/>
                <a:gd name="T39" fmla="*/ 660 h 1227"/>
                <a:gd name="T40" fmla="*/ 257 w 1626"/>
                <a:gd name="T41" fmla="*/ 629 h 1227"/>
                <a:gd name="T42" fmla="*/ 139 w 1626"/>
                <a:gd name="T43" fmla="*/ 605 h 1227"/>
                <a:gd name="T44" fmla="*/ 0 w 1626"/>
                <a:gd name="T45" fmla="*/ 545 h 1227"/>
                <a:gd name="T46" fmla="*/ 155 w 1626"/>
                <a:gd name="T47" fmla="*/ 405 h 1227"/>
                <a:gd name="T48" fmla="*/ 345 w 1626"/>
                <a:gd name="T49" fmla="*/ 476 h 1227"/>
                <a:gd name="T50" fmla="*/ 437 w 1626"/>
                <a:gd name="T51" fmla="*/ 393 h 1227"/>
                <a:gd name="T52" fmla="*/ 521 w 1626"/>
                <a:gd name="T53" fmla="*/ 355 h 1227"/>
                <a:gd name="T54" fmla="*/ 609 w 1626"/>
                <a:gd name="T55" fmla="*/ 317 h 1227"/>
                <a:gd name="T56" fmla="*/ 688 w 1626"/>
                <a:gd name="T57" fmla="*/ 342 h 1227"/>
                <a:gd name="T58" fmla="*/ 804 w 1626"/>
                <a:gd name="T59" fmla="*/ 252 h 1227"/>
                <a:gd name="T60" fmla="*/ 903 w 1626"/>
                <a:gd name="T61" fmla="*/ 221 h 1227"/>
                <a:gd name="T62" fmla="*/ 968 w 1626"/>
                <a:gd name="T63" fmla="*/ 164 h 1227"/>
                <a:gd name="T64" fmla="*/ 1060 w 1626"/>
                <a:gd name="T65" fmla="*/ 113 h 1227"/>
                <a:gd name="T66" fmla="*/ 1135 w 1626"/>
                <a:gd name="T67" fmla="*/ 65 h 1227"/>
                <a:gd name="T68" fmla="*/ 1209 w 1626"/>
                <a:gd name="T69" fmla="*/ 98 h 1227"/>
                <a:gd name="T70" fmla="*/ 1292 w 1626"/>
                <a:gd name="T71" fmla="*/ 29 h 1227"/>
                <a:gd name="T72" fmla="*/ 1392 w 1626"/>
                <a:gd name="T73" fmla="*/ 0 h 1227"/>
                <a:gd name="T74" fmla="*/ 1439 w 1626"/>
                <a:gd name="T75" fmla="*/ 98 h 1227"/>
                <a:gd name="T76" fmla="*/ 1476 w 1626"/>
                <a:gd name="T77" fmla="*/ 184 h 1227"/>
                <a:gd name="T78" fmla="*/ 1404 w 1626"/>
                <a:gd name="T79" fmla="*/ 354 h 1227"/>
                <a:gd name="T80" fmla="*/ 1509 w 1626"/>
                <a:gd name="T81" fmla="*/ 393 h 1227"/>
                <a:gd name="T82" fmla="*/ 1620 w 1626"/>
                <a:gd name="T83" fmla="*/ 379 h 1227"/>
                <a:gd name="T84" fmla="*/ 1582 w 1626"/>
                <a:gd name="T85" fmla="*/ 613 h 1227"/>
                <a:gd name="T86" fmla="*/ 1519 w 1626"/>
                <a:gd name="T87" fmla="*/ 844 h 1227"/>
                <a:gd name="T88" fmla="*/ 1380 w 1626"/>
                <a:gd name="T89" fmla="*/ 1004 h 1227"/>
                <a:gd name="T90" fmla="*/ 1312 w 1626"/>
                <a:gd name="T91" fmla="*/ 1071 h 1227"/>
                <a:gd name="T92" fmla="*/ 1188 w 1626"/>
                <a:gd name="T93" fmla="*/ 1171 h 122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26"/>
                <a:gd name="T142" fmla="*/ 0 h 1227"/>
                <a:gd name="T143" fmla="*/ 1626 w 1626"/>
                <a:gd name="T144" fmla="*/ 1227 h 122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26" h="1227">
                  <a:moveTo>
                    <a:pt x="1188" y="1171"/>
                  </a:moveTo>
                  <a:lnTo>
                    <a:pt x="1153" y="1165"/>
                  </a:lnTo>
                  <a:lnTo>
                    <a:pt x="1129" y="1140"/>
                  </a:lnTo>
                  <a:lnTo>
                    <a:pt x="1133" y="1190"/>
                  </a:lnTo>
                  <a:lnTo>
                    <a:pt x="1107" y="1207"/>
                  </a:lnTo>
                  <a:lnTo>
                    <a:pt x="1050" y="1207"/>
                  </a:lnTo>
                  <a:lnTo>
                    <a:pt x="1037" y="1159"/>
                  </a:lnTo>
                  <a:lnTo>
                    <a:pt x="961" y="1163"/>
                  </a:lnTo>
                  <a:lnTo>
                    <a:pt x="927" y="1135"/>
                  </a:lnTo>
                  <a:lnTo>
                    <a:pt x="915" y="1165"/>
                  </a:lnTo>
                  <a:lnTo>
                    <a:pt x="860" y="1163"/>
                  </a:lnTo>
                  <a:lnTo>
                    <a:pt x="850" y="1193"/>
                  </a:lnTo>
                  <a:lnTo>
                    <a:pt x="825" y="1189"/>
                  </a:lnTo>
                  <a:lnTo>
                    <a:pt x="796" y="1208"/>
                  </a:lnTo>
                  <a:lnTo>
                    <a:pt x="778" y="1159"/>
                  </a:lnTo>
                  <a:lnTo>
                    <a:pt x="741" y="1165"/>
                  </a:lnTo>
                  <a:lnTo>
                    <a:pt x="694" y="1227"/>
                  </a:lnTo>
                  <a:lnTo>
                    <a:pt x="667" y="1157"/>
                  </a:lnTo>
                  <a:lnTo>
                    <a:pt x="613" y="1159"/>
                  </a:lnTo>
                  <a:lnTo>
                    <a:pt x="577" y="1153"/>
                  </a:lnTo>
                  <a:lnTo>
                    <a:pt x="583" y="1114"/>
                  </a:lnTo>
                  <a:lnTo>
                    <a:pt x="552" y="1097"/>
                  </a:lnTo>
                  <a:lnTo>
                    <a:pt x="495" y="1108"/>
                  </a:lnTo>
                  <a:lnTo>
                    <a:pt x="505" y="1047"/>
                  </a:lnTo>
                  <a:lnTo>
                    <a:pt x="472" y="1018"/>
                  </a:lnTo>
                  <a:lnTo>
                    <a:pt x="478" y="979"/>
                  </a:lnTo>
                  <a:lnTo>
                    <a:pt x="517" y="962"/>
                  </a:lnTo>
                  <a:lnTo>
                    <a:pt x="516" y="935"/>
                  </a:lnTo>
                  <a:lnTo>
                    <a:pt x="509" y="902"/>
                  </a:lnTo>
                  <a:lnTo>
                    <a:pt x="489" y="893"/>
                  </a:lnTo>
                  <a:lnTo>
                    <a:pt x="450" y="895"/>
                  </a:lnTo>
                  <a:lnTo>
                    <a:pt x="388" y="904"/>
                  </a:lnTo>
                  <a:lnTo>
                    <a:pt x="373" y="877"/>
                  </a:lnTo>
                  <a:lnTo>
                    <a:pt x="288" y="889"/>
                  </a:lnTo>
                  <a:lnTo>
                    <a:pt x="281" y="846"/>
                  </a:lnTo>
                  <a:lnTo>
                    <a:pt x="238" y="853"/>
                  </a:lnTo>
                  <a:lnTo>
                    <a:pt x="238" y="809"/>
                  </a:lnTo>
                  <a:lnTo>
                    <a:pt x="282" y="748"/>
                  </a:lnTo>
                  <a:lnTo>
                    <a:pt x="346" y="742"/>
                  </a:lnTo>
                  <a:lnTo>
                    <a:pt x="361" y="660"/>
                  </a:lnTo>
                  <a:lnTo>
                    <a:pt x="327" y="615"/>
                  </a:lnTo>
                  <a:lnTo>
                    <a:pt x="257" y="629"/>
                  </a:lnTo>
                  <a:lnTo>
                    <a:pt x="235" y="599"/>
                  </a:lnTo>
                  <a:lnTo>
                    <a:pt x="139" y="605"/>
                  </a:lnTo>
                  <a:lnTo>
                    <a:pt x="133" y="533"/>
                  </a:lnTo>
                  <a:lnTo>
                    <a:pt x="0" y="545"/>
                  </a:lnTo>
                  <a:lnTo>
                    <a:pt x="62" y="470"/>
                  </a:lnTo>
                  <a:lnTo>
                    <a:pt x="155" y="405"/>
                  </a:lnTo>
                  <a:lnTo>
                    <a:pt x="247" y="454"/>
                  </a:lnTo>
                  <a:lnTo>
                    <a:pt x="345" y="476"/>
                  </a:lnTo>
                  <a:lnTo>
                    <a:pt x="386" y="386"/>
                  </a:lnTo>
                  <a:lnTo>
                    <a:pt x="437" y="393"/>
                  </a:lnTo>
                  <a:lnTo>
                    <a:pt x="460" y="343"/>
                  </a:lnTo>
                  <a:lnTo>
                    <a:pt x="521" y="355"/>
                  </a:lnTo>
                  <a:lnTo>
                    <a:pt x="582" y="256"/>
                  </a:lnTo>
                  <a:lnTo>
                    <a:pt x="609" y="317"/>
                  </a:lnTo>
                  <a:lnTo>
                    <a:pt x="674" y="307"/>
                  </a:lnTo>
                  <a:lnTo>
                    <a:pt x="688" y="342"/>
                  </a:lnTo>
                  <a:lnTo>
                    <a:pt x="759" y="342"/>
                  </a:lnTo>
                  <a:lnTo>
                    <a:pt x="804" y="252"/>
                  </a:lnTo>
                  <a:lnTo>
                    <a:pt x="872" y="275"/>
                  </a:lnTo>
                  <a:lnTo>
                    <a:pt x="903" y="221"/>
                  </a:lnTo>
                  <a:lnTo>
                    <a:pt x="961" y="225"/>
                  </a:lnTo>
                  <a:lnTo>
                    <a:pt x="968" y="164"/>
                  </a:lnTo>
                  <a:lnTo>
                    <a:pt x="1042" y="178"/>
                  </a:lnTo>
                  <a:lnTo>
                    <a:pt x="1060" y="113"/>
                  </a:lnTo>
                  <a:lnTo>
                    <a:pt x="1135" y="126"/>
                  </a:lnTo>
                  <a:lnTo>
                    <a:pt x="1135" y="65"/>
                  </a:lnTo>
                  <a:lnTo>
                    <a:pt x="1176" y="46"/>
                  </a:lnTo>
                  <a:lnTo>
                    <a:pt x="1209" y="98"/>
                  </a:lnTo>
                  <a:lnTo>
                    <a:pt x="1262" y="90"/>
                  </a:lnTo>
                  <a:lnTo>
                    <a:pt x="1292" y="29"/>
                  </a:lnTo>
                  <a:lnTo>
                    <a:pt x="1356" y="34"/>
                  </a:lnTo>
                  <a:lnTo>
                    <a:pt x="1392" y="0"/>
                  </a:lnTo>
                  <a:lnTo>
                    <a:pt x="1433" y="24"/>
                  </a:lnTo>
                  <a:lnTo>
                    <a:pt x="1439" y="98"/>
                  </a:lnTo>
                  <a:lnTo>
                    <a:pt x="1477" y="110"/>
                  </a:lnTo>
                  <a:lnTo>
                    <a:pt x="1476" y="184"/>
                  </a:lnTo>
                  <a:lnTo>
                    <a:pt x="1390" y="322"/>
                  </a:lnTo>
                  <a:lnTo>
                    <a:pt x="1404" y="354"/>
                  </a:lnTo>
                  <a:lnTo>
                    <a:pt x="1495" y="294"/>
                  </a:lnTo>
                  <a:lnTo>
                    <a:pt x="1509" y="393"/>
                  </a:lnTo>
                  <a:lnTo>
                    <a:pt x="1540" y="409"/>
                  </a:lnTo>
                  <a:lnTo>
                    <a:pt x="1620" y="379"/>
                  </a:lnTo>
                  <a:lnTo>
                    <a:pt x="1626" y="509"/>
                  </a:lnTo>
                  <a:lnTo>
                    <a:pt x="1582" y="613"/>
                  </a:lnTo>
                  <a:lnTo>
                    <a:pt x="1533" y="673"/>
                  </a:lnTo>
                  <a:lnTo>
                    <a:pt x="1519" y="844"/>
                  </a:lnTo>
                  <a:lnTo>
                    <a:pt x="1392" y="917"/>
                  </a:lnTo>
                  <a:lnTo>
                    <a:pt x="1380" y="1004"/>
                  </a:lnTo>
                  <a:lnTo>
                    <a:pt x="1312" y="1006"/>
                  </a:lnTo>
                  <a:lnTo>
                    <a:pt x="1312" y="1071"/>
                  </a:lnTo>
                  <a:lnTo>
                    <a:pt x="1245" y="1081"/>
                  </a:lnTo>
                  <a:lnTo>
                    <a:pt x="1188" y="1171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2" name="Freeform 100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5011" y="3179"/>
              <a:ext cx="422" cy="349"/>
            </a:xfrm>
            <a:custGeom>
              <a:avLst/>
              <a:gdLst>
                <a:gd name="T0" fmla="*/ 1603 w 1603"/>
                <a:gd name="T1" fmla="*/ 405 h 1318"/>
                <a:gd name="T2" fmla="*/ 1539 w 1603"/>
                <a:gd name="T3" fmla="*/ 427 h 1318"/>
                <a:gd name="T4" fmla="*/ 1523 w 1603"/>
                <a:gd name="T5" fmla="*/ 478 h 1318"/>
                <a:gd name="T6" fmla="*/ 1496 w 1603"/>
                <a:gd name="T7" fmla="*/ 531 h 1318"/>
                <a:gd name="T8" fmla="*/ 1431 w 1603"/>
                <a:gd name="T9" fmla="*/ 546 h 1318"/>
                <a:gd name="T10" fmla="*/ 1382 w 1603"/>
                <a:gd name="T11" fmla="*/ 586 h 1318"/>
                <a:gd name="T12" fmla="*/ 1294 w 1603"/>
                <a:gd name="T13" fmla="*/ 551 h 1318"/>
                <a:gd name="T14" fmla="*/ 1266 w 1603"/>
                <a:gd name="T15" fmla="*/ 631 h 1318"/>
                <a:gd name="T16" fmla="*/ 1196 w 1603"/>
                <a:gd name="T17" fmla="*/ 595 h 1318"/>
                <a:gd name="T18" fmla="*/ 1092 w 1603"/>
                <a:gd name="T19" fmla="*/ 599 h 1318"/>
                <a:gd name="T20" fmla="*/ 1050 w 1603"/>
                <a:gd name="T21" fmla="*/ 660 h 1318"/>
                <a:gd name="T22" fmla="*/ 993 w 1603"/>
                <a:gd name="T23" fmla="*/ 691 h 1318"/>
                <a:gd name="T24" fmla="*/ 896 w 1603"/>
                <a:gd name="T25" fmla="*/ 691 h 1318"/>
                <a:gd name="T26" fmla="*/ 855 w 1603"/>
                <a:gd name="T27" fmla="*/ 642 h 1318"/>
                <a:gd name="T28" fmla="*/ 805 w 1603"/>
                <a:gd name="T29" fmla="*/ 648 h 1318"/>
                <a:gd name="T30" fmla="*/ 835 w 1603"/>
                <a:gd name="T31" fmla="*/ 742 h 1318"/>
                <a:gd name="T32" fmla="*/ 786 w 1603"/>
                <a:gd name="T33" fmla="*/ 795 h 1318"/>
                <a:gd name="T34" fmla="*/ 755 w 1603"/>
                <a:gd name="T35" fmla="*/ 856 h 1318"/>
                <a:gd name="T36" fmla="*/ 694 w 1603"/>
                <a:gd name="T37" fmla="*/ 887 h 1318"/>
                <a:gd name="T38" fmla="*/ 615 w 1603"/>
                <a:gd name="T39" fmla="*/ 913 h 1318"/>
                <a:gd name="T40" fmla="*/ 499 w 1603"/>
                <a:gd name="T41" fmla="*/ 955 h 1318"/>
                <a:gd name="T42" fmla="*/ 435 w 1603"/>
                <a:gd name="T43" fmla="*/ 987 h 1318"/>
                <a:gd name="T44" fmla="*/ 363 w 1603"/>
                <a:gd name="T45" fmla="*/ 1017 h 1318"/>
                <a:gd name="T46" fmla="*/ 248 w 1603"/>
                <a:gd name="T47" fmla="*/ 1042 h 1318"/>
                <a:gd name="T48" fmla="*/ 172 w 1603"/>
                <a:gd name="T49" fmla="*/ 1128 h 1318"/>
                <a:gd name="T50" fmla="*/ 125 w 1603"/>
                <a:gd name="T51" fmla="*/ 1126 h 1318"/>
                <a:gd name="T52" fmla="*/ 111 w 1603"/>
                <a:gd name="T53" fmla="*/ 1176 h 1318"/>
                <a:gd name="T54" fmla="*/ 178 w 1603"/>
                <a:gd name="T55" fmla="*/ 1219 h 1318"/>
                <a:gd name="T56" fmla="*/ 168 w 1603"/>
                <a:gd name="T57" fmla="*/ 1315 h 1318"/>
                <a:gd name="T58" fmla="*/ 80 w 1603"/>
                <a:gd name="T59" fmla="*/ 1279 h 1318"/>
                <a:gd name="T60" fmla="*/ 37 w 1603"/>
                <a:gd name="T61" fmla="*/ 1211 h 1318"/>
                <a:gd name="T62" fmla="*/ 1 w 1603"/>
                <a:gd name="T63" fmla="*/ 1121 h 1318"/>
                <a:gd name="T64" fmla="*/ 45 w 1603"/>
                <a:gd name="T65" fmla="*/ 1061 h 1318"/>
                <a:gd name="T66" fmla="*/ 0 w 1603"/>
                <a:gd name="T67" fmla="*/ 1012 h 1318"/>
                <a:gd name="T68" fmla="*/ 125 w 1603"/>
                <a:gd name="T69" fmla="*/ 913 h 1318"/>
                <a:gd name="T70" fmla="*/ 193 w 1603"/>
                <a:gd name="T71" fmla="*/ 845 h 1318"/>
                <a:gd name="T72" fmla="*/ 332 w 1603"/>
                <a:gd name="T73" fmla="*/ 684 h 1318"/>
                <a:gd name="T74" fmla="*/ 393 w 1603"/>
                <a:gd name="T75" fmla="*/ 455 h 1318"/>
                <a:gd name="T76" fmla="*/ 433 w 1603"/>
                <a:gd name="T77" fmla="*/ 218 h 1318"/>
                <a:gd name="T78" fmla="*/ 491 w 1603"/>
                <a:gd name="T79" fmla="*/ 110 h 1318"/>
                <a:gd name="T80" fmla="*/ 624 w 1603"/>
                <a:gd name="T81" fmla="*/ 140 h 1318"/>
                <a:gd name="T82" fmla="*/ 656 w 1603"/>
                <a:gd name="T83" fmla="*/ 28 h 1318"/>
                <a:gd name="T84" fmla="*/ 797 w 1603"/>
                <a:gd name="T85" fmla="*/ 35 h 1318"/>
                <a:gd name="T86" fmla="*/ 899 w 1603"/>
                <a:gd name="T87" fmla="*/ 52 h 1318"/>
                <a:gd name="T88" fmla="*/ 1015 w 1603"/>
                <a:gd name="T89" fmla="*/ 55 h 1318"/>
                <a:gd name="T90" fmla="*/ 976 w 1603"/>
                <a:gd name="T91" fmla="*/ 218 h 1318"/>
                <a:gd name="T92" fmla="*/ 1112 w 1603"/>
                <a:gd name="T93" fmla="*/ 153 h 1318"/>
                <a:gd name="T94" fmla="*/ 1250 w 1603"/>
                <a:gd name="T95" fmla="*/ 170 h 1318"/>
                <a:gd name="T96" fmla="*/ 1302 w 1603"/>
                <a:gd name="T97" fmla="*/ 76 h 1318"/>
                <a:gd name="T98" fmla="*/ 1425 w 1603"/>
                <a:gd name="T99" fmla="*/ 134 h 1318"/>
                <a:gd name="T100" fmla="*/ 1563 w 1603"/>
                <a:gd name="T101" fmla="*/ 196 h 1318"/>
                <a:gd name="T102" fmla="*/ 1595 w 1603"/>
                <a:gd name="T103" fmla="*/ 335 h 13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603"/>
                <a:gd name="T157" fmla="*/ 0 h 1318"/>
                <a:gd name="T158" fmla="*/ 1603 w 1603"/>
                <a:gd name="T159" fmla="*/ 1318 h 131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603" h="1318">
                  <a:moveTo>
                    <a:pt x="1595" y="335"/>
                  </a:moveTo>
                  <a:lnTo>
                    <a:pt x="1603" y="405"/>
                  </a:lnTo>
                  <a:lnTo>
                    <a:pt x="1579" y="429"/>
                  </a:lnTo>
                  <a:lnTo>
                    <a:pt x="1539" y="427"/>
                  </a:lnTo>
                  <a:lnTo>
                    <a:pt x="1542" y="463"/>
                  </a:lnTo>
                  <a:lnTo>
                    <a:pt x="1523" y="478"/>
                  </a:lnTo>
                  <a:lnTo>
                    <a:pt x="1491" y="473"/>
                  </a:lnTo>
                  <a:lnTo>
                    <a:pt x="1496" y="531"/>
                  </a:lnTo>
                  <a:lnTo>
                    <a:pt x="1438" y="521"/>
                  </a:lnTo>
                  <a:lnTo>
                    <a:pt x="1431" y="546"/>
                  </a:lnTo>
                  <a:lnTo>
                    <a:pt x="1419" y="582"/>
                  </a:lnTo>
                  <a:lnTo>
                    <a:pt x="1382" y="586"/>
                  </a:lnTo>
                  <a:lnTo>
                    <a:pt x="1337" y="592"/>
                  </a:lnTo>
                  <a:lnTo>
                    <a:pt x="1294" y="551"/>
                  </a:lnTo>
                  <a:lnTo>
                    <a:pt x="1301" y="604"/>
                  </a:lnTo>
                  <a:lnTo>
                    <a:pt x="1266" y="631"/>
                  </a:lnTo>
                  <a:lnTo>
                    <a:pt x="1229" y="611"/>
                  </a:lnTo>
                  <a:lnTo>
                    <a:pt x="1196" y="595"/>
                  </a:lnTo>
                  <a:lnTo>
                    <a:pt x="1129" y="607"/>
                  </a:lnTo>
                  <a:lnTo>
                    <a:pt x="1092" y="599"/>
                  </a:lnTo>
                  <a:lnTo>
                    <a:pt x="1068" y="626"/>
                  </a:lnTo>
                  <a:lnTo>
                    <a:pt x="1050" y="660"/>
                  </a:lnTo>
                  <a:lnTo>
                    <a:pt x="1027" y="660"/>
                  </a:lnTo>
                  <a:lnTo>
                    <a:pt x="993" y="691"/>
                  </a:lnTo>
                  <a:lnTo>
                    <a:pt x="920" y="715"/>
                  </a:lnTo>
                  <a:lnTo>
                    <a:pt x="896" y="691"/>
                  </a:lnTo>
                  <a:lnTo>
                    <a:pt x="896" y="650"/>
                  </a:lnTo>
                  <a:lnTo>
                    <a:pt x="855" y="642"/>
                  </a:lnTo>
                  <a:lnTo>
                    <a:pt x="805" y="635"/>
                  </a:lnTo>
                  <a:lnTo>
                    <a:pt x="805" y="648"/>
                  </a:lnTo>
                  <a:lnTo>
                    <a:pt x="831" y="684"/>
                  </a:lnTo>
                  <a:lnTo>
                    <a:pt x="835" y="742"/>
                  </a:lnTo>
                  <a:lnTo>
                    <a:pt x="794" y="764"/>
                  </a:lnTo>
                  <a:lnTo>
                    <a:pt x="786" y="795"/>
                  </a:lnTo>
                  <a:lnTo>
                    <a:pt x="760" y="807"/>
                  </a:lnTo>
                  <a:lnTo>
                    <a:pt x="755" y="856"/>
                  </a:lnTo>
                  <a:lnTo>
                    <a:pt x="718" y="856"/>
                  </a:lnTo>
                  <a:lnTo>
                    <a:pt x="694" y="887"/>
                  </a:lnTo>
                  <a:lnTo>
                    <a:pt x="650" y="905"/>
                  </a:lnTo>
                  <a:lnTo>
                    <a:pt x="615" y="913"/>
                  </a:lnTo>
                  <a:lnTo>
                    <a:pt x="509" y="901"/>
                  </a:lnTo>
                  <a:lnTo>
                    <a:pt x="499" y="955"/>
                  </a:lnTo>
                  <a:lnTo>
                    <a:pt x="443" y="943"/>
                  </a:lnTo>
                  <a:lnTo>
                    <a:pt x="435" y="987"/>
                  </a:lnTo>
                  <a:lnTo>
                    <a:pt x="374" y="979"/>
                  </a:lnTo>
                  <a:lnTo>
                    <a:pt x="363" y="1017"/>
                  </a:lnTo>
                  <a:lnTo>
                    <a:pt x="294" y="1009"/>
                  </a:lnTo>
                  <a:lnTo>
                    <a:pt x="248" y="1042"/>
                  </a:lnTo>
                  <a:lnTo>
                    <a:pt x="222" y="1078"/>
                  </a:lnTo>
                  <a:lnTo>
                    <a:pt x="172" y="1128"/>
                  </a:lnTo>
                  <a:lnTo>
                    <a:pt x="153" y="1109"/>
                  </a:lnTo>
                  <a:lnTo>
                    <a:pt x="125" y="1126"/>
                  </a:lnTo>
                  <a:lnTo>
                    <a:pt x="122" y="1157"/>
                  </a:lnTo>
                  <a:lnTo>
                    <a:pt x="111" y="1176"/>
                  </a:lnTo>
                  <a:lnTo>
                    <a:pt x="148" y="1184"/>
                  </a:lnTo>
                  <a:lnTo>
                    <a:pt x="178" y="1219"/>
                  </a:lnTo>
                  <a:lnTo>
                    <a:pt x="184" y="1275"/>
                  </a:lnTo>
                  <a:lnTo>
                    <a:pt x="168" y="1315"/>
                  </a:lnTo>
                  <a:lnTo>
                    <a:pt x="95" y="1318"/>
                  </a:lnTo>
                  <a:lnTo>
                    <a:pt x="80" y="1279"/>
                  </a:lnTo>
                  <a:lnTo>
                    <a:pt x="45" y="1254"/>
                  </a:lnTo>
                  <a:lnTo>
                    <a:pt x="37" y="1211"/>
                  </a:lnTo>
                  <a:lnTo>
                    <a:pt x="1" y="1213"/>
                  </a:lnTo>
                  <a:lnTo>
                    <a:pt x="1" y="1121"/>
                  </a:lnTo>
                  <a:lnTo>
                    <a:pt x="7" y="1082"/>
                  </a:lnTo>
                  <a:lnTo>
                    <a:pt x="45" y="1061"/>
                  </a:lnTo>
                  <a:lnTo>
                    <a:pt x="37" y="1040"/>
                  </a:lnTo>
                  <a:lnTo>
                    <a:pt x="0" y="1012"/>
                  </a:lnTo>
                  <a:lnTo>
                    <a:pt x="57" y="921"/>
                  </a:lnTo>
                  <a:lnTo>
                    <a:pt x="125" y="913"/>
                  </a:lnTo>
                  <a:lnTo>
                    <a:pt x="125" y="847"/>
                  </a:lnTo>
                  <a:lnTo>
                    <a:pt x="193" y="845"/>
                  </a:lnTo>
                  <a:lnTo>
                    <a:pt x="205" y="758"/>
                  </a:lnTo>
                  <a:lnTo>
                    <a:pt x="332" y="684"/>
                  </a:lnTo>
                  <a:lnTo>
                    <a:pt x="345" y="514"/>
                  </a:lnTo>
                  <a:lnTo>
                    <a:pt x="393" y="455"/>
                  </a:lnTo>
                  <a:lnTo>
                    <a:pt x="439" y="350"/>
                  </a:lnTo>
                  <a:lnTo>
                    <a:pt x="433" y="218"/>
                  </a:lnTo>
                  <a:lnTo>
                    <a:pt x="474" y="184"/>
                  </a:lnTo>
                  <a:lnTo>
                    <a:pt x="491" y="110"/>
                  </a:lnTo>
                  <a:lnTo>
                    <a:pt x="549" y="87"/>
                  </a:lnTo>
                  <a:lnTo>
                    <a:pt x="624" y="140"/>
                  </a:lnTo>
                  <a:lnTo>
                    <a:pt x="659" y="120"/>
                  </a:lnTo>
                  <a:lnTo>
                    <a:pt x="656" y="28"/>
                  </a:lnTo>
                  <a:lnTo>
                    <a:pt x="711" y="7"/>
                  </a:lnTo>
                  <a:lnTo>
                    <a:pt x="797" y="35"/>
                  </a:lnTo>
                  <a:lnTo>
                    <a:pt x="841" y="4"/>
                  </a:lnTo>
                  <a:lnTo>
                    <a:pt x="899" y="52"/>
                  </a:lnTo>
                  <a:lnTo>
                    <a:pt x="988" y="0"/>
                  </a:lnTo>
                  <a:lnTo>
                    <a:pt x="1015" y="55"/>
                  </a:lnTo>
                  <a:lnTo>
                    <a:pt x="931" y="178"/>
                  </a:lnTo>
                  <a:lnTo>
                    <a:pt x="976" y="218"/>
                  </a:lnTo>
                  <a:lnTo>
                    <a:pt x="1038" y="206"/>
                  </a:lnTo>
                  <a:lnTo>
                    <a:pt x="1112" y="153"/>
                  </a:lnTo>
                  <a:lnTo>
                    <a:pt x="1204" y="114"/>
                  </a:lnTo>
                  <a:lnTo>
                    <a:pt x="1250" y="170"/>
                  </a:lnTo>
                  <a:lnTo>
                    <a:pt x="1294" y="156"/>
                  </a:lnTo>
                  <a:lnTo>
                    <a:pt x="1302" y="76"/>
                  </a:lnTo>
                  <a:lnTo>
                    <a:pt x="1407" y="77"/>
                  </a:lnTo>
                  <a:lnTo>
                    <a:pt x="1425" y="134"/>
                  </a:lnTo>
                  <a:lnTo>
                    <a:pt x="1487" y="122"/>
                  </a:lnTo>
                  <a:lnTo>
                    <a:pt x="1563" y="196"/>
                  </a:lnTo>
                  <a:lnTo>
                    <a:pt x="1558" y="280"/>
                  </a:lnTo>
                  <a:lnTo>
                    <a:pt x="1595" y="33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3" name="Freeform 101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5345" y="2972"/>
              <a:ext cx="235" cy="298"/>
            </a:xfrm>
            <a:custGeom>
              <a:avLst/>
              <a:gdLst>
                <a:gd name="T0" fmla="*/ 863 w 890"/>
                <a:gd name="T1" fmla="*/ 194 h 1126"/>
                <a:gd name="T2" fmla="*/ 887 w 890"/>
                <a:gd name="T3" fmla="*/ 248 h 1126"/>
                <a:gd name="T4" fmla="*/ 821 w 890"/>
                <a:gd name="T5" fmla="*/ 333 h 1126"/>
                <a:gd name="T6" fmla="*/ 761 w 890"/>
                <a:gd name="T7" fmla="*/ 333 h 1126"/>
                <a:gd name="T8" fmla="*/ 756 w 890"/>
                <a:gd name="T9" fmla="*/ 371 h 1126"/>
                <a:gd name="T10" fmla="*/ 792 w 890"/>
                <a:gd name="T11" fmla="*/ 421 h 1126"/>
                <a:gd name="T12" fmla="*/ 753 w 890"/>
                <a:gd name="T13" fmla="*/ 482 h 1126"/>
                <a:gd name="T14" fmla="*/ 790 w 890"/>
                <a:gd name="T15" fmla="*/ 562 h 1126"/>
                <a:gd name="T16" fmla="*/ 792 w 890"/>
                <a:gd name="T17" fmla="*/ 596 h 1126"/>
                <a:gd name="T18" fmla="*/ 786 w 890"/>
                <a:gd name="T19" fmla="*/ 652 h 1126"/>
                <a:gd name="T20" fmla="*/ 706 w 890"/>
                <a:gd name="T21" fmla="*/ 615 h 1126"/>
                <a:gd name="T22" fmla="*/ 710 w 890"/>
                <a:gd name="T23" fmla="*/ 719 h 1126"/>
                <a:gd name="T24" fmla="*/ 664 w 890"/>
                <a:gd name="T25" fmla="*/ 752 h 1126"/>
                <a:gd name="T26" fmla="*/ 615 w 890"/>
                <a:gd name="T27" fmla="*/ 783 h 1126"/>
                <a:gd name="T28" fmla="*/ 627 w 890"/>
                <a:gd name="T29" fmla="*/ 848 h 1126"/>
                <a:gd name="T30" fmla="*/ 553 w 890"/>
                <a:gd name="T31" fmla="*/ 869 h 1126"/>
                <a:gd name="T32" fmla="*/ 492 w 890"/>
                <a:gd name="T33" fmla="*/ 905 h 1126"/>
                <a:gd name="T34" fmla="*/ 519 w 890"/>
                <a:gd name="T35" fmla="*/ 952 h 1126"/>
                <a:gd name="T36" fmla="*/ 492 w 890"/>
                <a:gd name="T37" fmla="*/ 992 h 1126"/>
                <a:gd name="T38" fmla="*/ 440 w 890"/>
                <a:gd name="T39" fmla="*/ 1026 h 1126"/>
                <a:gd name="T40" fmla="*/ 423 w 890"/>
                <a:gd name="T41" fmla="*/ 1093 h 1126"/>
                <a:gd name="T42" fmla="*/ 325 w 890"/>
                <a:gd name="T43" fmla="*/ 1118 h 1126"/>
                <a:gd name="T44" fmla="*/ 294 w 890"/>
                <a:gd name="T45" fmla="*/ 978 h 1126"/>
                <a:gd name="T46" fmla="*/ 154 w 890"/>
                <a:gd name="T47" fmla="*/ 916 h 1126"/>
                <a:gd name="T48" fmla="*/ 32 w 890"/>
                <a:gd name="T49" fmla="*/ 858 h 1126"/>
                <a:gd name="T50" fmla="*/ 32 w 890"/>
                <a:gd name="T51" fmla="*/ 775 h 1126"/>
                <a:gd name="T52" fmla="*/ 88 w 890"/>
                <a:gd name="T53" fmla="*/ 611 h 1126"/>
                <a:gd name="T54" fmla="*/ 76 w 890"/>
                <a:gd name="T55" fmla="*/ 511 h 1126"/>
                <a:gd name="T56" fmla="*/ 97 w 890"/>
                <a:gd name="T57" fmla="*/ 443 h 1126"/>
                <a:gd name="T58" fmla="*/ 146 w 890"/>
                <a:gd name="T59" fmla="*/ 347 h 1126"/>
                <a:gd name="T60" fmla="*/ 201 w 890"/>
                <a:gd name="T61" fmla="*/ 220 h 1126"/>
                <a:gd name="T62" fmla="*/ 231 w 890"/>
                <a:gd name="T63" fmla="*/ 130 h 1126"/>
                <a:gd name="T64" fmla="*/ 428 w 890"/>
                <a:gd name="T65" fmla="*/ 65 h 1126"/>
                <a:gd name="T66" fmla="*/ 515 w 890"/>
                <a:gd name="T67" fmla="*/ 8 h 1126"/>
                <a:gd name="T68" fmla="*/ 589 w 890"/>
                <a:gd name="T69" fmla="*/ 169 h 1126"/>
                <a:gd name="T70" fmla="*/ 700 w 890"/>
                <a:gd name="T71" fmla="*/ 125 h 1126"/>
                <a:gd name="T72" fmla="*/ 768 w 890"/>
                <a:gd name="T73" fmla="*/ 176 h 112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90"/>
                <a:gd name="T112" fmla="*/ 0 h 1126"/>
                <a:gd name="T113" fmla="*/ 890 w 890"/>
                <a:gd name="T114" fmla="*/ 1126 h 112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90" h="1126">
                  <a:moveTo>
                    <a:pt x="845" y="156"/>
                  </a:moveTo>
                  <a:lnTo>
                    <a:pt x="863" y="194"/>
                  </a:lnTo>
                  <a:lnTo>
                    <a:pt x="890" y="205"/>
                  </a:lnTo>
                  <a:lnTo>
                    <a:pt x="887" y="248"/>
                  </a:lnTo>
                  <a:lnTo>
                    <a:pt x="835" y="274"/>
                  </a:lnTo>
                  <a:lnTo>
                    <a:pt x="821" y="333"/>
                  </a:lnTo>
                  <a:lnTo>
                    <a:pt x="790" y="321"/>
                  </a:lnTo>
                  <a:lnTo>
                    <a:pt x="761" y="333"/>
                  </a:lnTo>
                  <a:lnTo>
                    <a:pt x="734" y="346"/>
                  </a:lnTo>
                  <a:lnTo>
                    <a:pt x="756" y="371"/>
                  </a:lnTo>
                  <a:lnTo>
                    <a:pt x="756" y="415"/>
                  </a:lnTo>
                  <a:lnTo>
                    <a:pt x="792" y="421"/>
                  </a:lnTo>
                  <a:lnTo>
                    <a:pt x="790" y="462"/>
                  </a:lnTo>
                  <a:lnTo>
                    <a:pt x="753" y="482"/>
                  </a:lnTo>
                  <a:lnTo>
                    <a:pt x="784" y="500"/>
                  </a:lnTo>
                  <a:lnTo>
                    <a:pt x="790" y="562"/>
                  </a:lnTo>
                  <a:lnTo>
                    <a:pt x="756" y="574"/>
                  </a:lnTo>
                  <a:lnTo>
                    <a:pt x="792" y="596"/>
                  </a:lnTo>
                  <a:lnTo>
                    <a:pt x="796" y="627"/>
                  </a:lnTo>
                  <a:lnTo>
                    <a:pt x="786" y="652"/>
                  </a:lnTo>
                  <a:lnTo>
                    <a:pt x="749" y="622"/>
                  </a:lnTo>
                  <a:lnTo>
                    <a:pt x="706" y="615"/>
                  </a:lnTo>
                  <a:lnTo>
                    <a:pt x="717" y="684"/>
                  </a:lnTo>
                  <a:lnTo>
                    <a:pt x="710" y="719"/>
                  </a:lnTo>
                  <a:lnTo>
                    <a:pt x="664" y="715"/>
                  </a:lnTo>
                  <a:lnTo>
                    <a:pt x="664" y="752"/>
                  </a:lnTo>
                  <a:lnTo>
                    <a:pt x="669" y="787"/>
                  </a:lnTo>
                  <a:lnTo>
                    <a:pt x="615" y="783"/>
                  </a:lnTo>
                  <a:lnTo>
                    <a:pt x="631" y="813"/>
                  </a:lnTo>
                  <a:lnTo>
                    <a:pt x="627" y="848"/>
                  </a:lnTo>
                  <a:lnTo>
                    <a:pt x="607" y="874"/>
                  </a:lnTo>
                  <a:lnTo>
                    <a:pt x="553" y="869"/>
                  </a:lnTo>
                  <a:lnTo>
                    <a:pt x="516" y="886"/>
                  </a:lnTo>
                  <a:lnTo>
                    <a:pt x="492" y="905"/>
                  </a:lnTo>
                  <a:lnTo>
                    <a:pt x="486" y="940"/>
                  </a:lnTo>
                  <a:lnTo>
                    <a:pt x="519" y="952"/>
                  </a:lnTo>
                  <a:lnTo>
                    <a:pt x="516" y="985"/>
                  </a:lnTo>
                  <a:lnTo>
                    <a:pt x="492" y="992"/>
                  </a:lnTo>
                  <a:lnTo>
                    <a:pt x="483" y="1027"/>
                  </a:lnTo>
                  <a:lnTo>
                    <a:pt x="440" y="1026"/>
                  </a:lnTo>
                  <a:lnTo>
                    <a:pt x="450" y="1081"/>
                  </a:lnTo>
                  <a:lnTo>
                    <a:pt x="423" y="1093"/>
                  </a:lnTo>
                  <a:lnTo>
                    <a:pt x="394" y="1126"/>
                  </a:lnTo>
                  <a:lnTo>
                    <a:pt x="325" y="1118"/>
                  </a:lnTo>
                  <a:lnTo>
                    <a:pt x="287" y="1058"/>
                  </a:lnTo>
                  <a:lnTo>
                    <a:pt x="294" y="978"/>
                  </a:lnTo>
                  <a:lnTo>
                    <a:pt x="217" y="904"/>
                  </a:lnTo>
                  <a:lnTo>
                    <a:pt x="154" y="916"/>
                  </a:lnTo>
                  <a:lnTo>
                    <a:pt x="138" y="859"/>
                  </a:lnTo>
                  <a:lnTo>
                    <a:pt x="32" y="858"/>
                  </a:lnTo>
                  <a:lnTo>
                    <a:pt x="0" y="811"/>
                  </a:lnTo>
                  <a:lnTo>
                    <a:pt x="32" y="775"/>
                  </a:lnTo>
                  <a:lnTo>
                    <a:pt x="32" y="654"/>
                  </a:lnTo>
                  <a:lnTo>
                    <a:pt x="88" y="611"/>
                  </a:lnTo>
                  <a:lnTo>
                    <a:pt x="97" y="559"/>
                  </a:lnTo>
                  <a:lnTo>
                    <a:pt x="76" y="511"/>
                  </a:lnTo>
                  <a:lnTo>
                    <a:pt x="129" y="500"/>
                  </a:lnTo>
                  <a:lnTo>
                    <a:pt x="97" y="443"/>
                  </a:lnTo>
                  <a:lnTo>
                    <a:pt x="105" y="383"/>
                  </a:lnTo>
                  <a:lnTo>
                    <a:pt x="146" y="347"/>
                  </a:lnTo>
                  <a:lnTo>
                    <a:pt x="189" y="322"/>
                  </a:lnTo>
                  <a:lnTo>
                    <a:pt x="201" y="220"/>
                  </a:lnTo>
                  <a:lnTo>
                    <a:pt x="227" y="208"/>
                  </a:lnTo>
                  <a:lnTo>
                    <a:pt x="231" y="130"/>
                  </a:lnTo>
                  <a:lnTo>
                    <a:pt x="313" y="126"/>
                  </a:lnTo>
                  <a:lnTo>
                    <a:pt x="428" y="65"/>
                  </a:lnTo>
                  <a:lnTo>
                    <a:pt x="453" y="0"/>
                  </a:lnTo>
                  <a:lnTo>
                    <a:pt x="515" y="8"/>
                  </a:lnTo>
                  <a:lnTo>
                    <a:pt x="563" y="84"/>
                  </a:lnTo>
                  <a:lnTo>
                    <a:pt x="589" y="169"/>
                  </a:lnTo>
                  <a:lnTo>
                    <a:pt x="680" y="176"/>
                  </a:lnTo>
                  <a:lnTo>
                    <a:pt x="700" y="125"/>
                  </a:lnTo>
                  <a:lnTo>
                    <a:pt x="748" y="125"/>
                  </a:lnTo>
                  <a:lnTo>
                    <a:pt x="768" y="176"/>
                  </a:lnTo>
                  <a:lnTo>
                    <a:pt x="845" y="156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4" name="Freeform 102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5430" y="2786"/>
              <a:ext cx="216" cy="233"/>
            </a:xfrm>
            <a:custGeom>
              <a:avLst/>
              <a:gdLst>
                <a:gd name="T0" fmla="*/ 604 w 821"/>
                <a:gd name="T1" fmla="*/ 87 h 880"/>
                <a:gd name="T2" fmla="*/ 538 w 821"/>
                <a:gd name="T3" fmla="*/ 160 h 880"/>
                <a:gd name="T4" fmla="*/ 428 w 821"/>
                <a:gd name="T5" fmla="*/ 186 h 880"/>
                <a:gd name="T6" fmla="*/ 494 w 821"/>
                <a:gd name="T7" fmla="*/ 216 h 880"/>
                <a:gd name="T8" fmla="*/ 595 w 821"/>
                <a:gd name="T9" fmla="*/ 184 h 880"/>
                <a:gd name="T10" fmla="*/ 684 w 821"/>
                <a:gd name="T11" fmla="*/ 178 h 880"/>
                <a:gd name="T12" fmla="*/ 723 w 821"/>
                <a:gd name="T13" fmla="*/ 210 h 880"/>
                <a:gd name="T14" fmla="*/ 784 w 821"/>
                <a:gd name="T15" fmla="*/ 240 h 880"/>
                <a:gd name="T16" fmla="*/ 721 w 821"/>
                <a:gd name="T17" fmla="*/ 313 h 880"/>
                <a:gd name="T18" fmla="*/ 784 w 821"/>
                <a:gd name="T19" fmla="*/ 309 h 880"/>
                <a:gd name="T20" fmla="*/ 797 w 821"/>
                <a:gd name="T21" fmla="*/ 370 h 880"/>
                <a:gd name="T22" fmla="*/ 766 w 821"/>
                <a:gd name="T23" fmla="*/ 442 h 880"/>
                <a:gd name="T24" fmla="*/ 727 w 821"/>
                <a:gd name="T25" fmla="*/ 530 h 880"/>
                <a:gd name="T26" fmla="*/ 797 w 821"/>
                <a:gd name="T27" fmla="*/ 595 h 880"/>
                <a:gd name="T28" fmla="*/ 748 w 821"/>
                <a:gd name="T29" fmla="*/ 646 h 880"/>
                <a:gd name="T30" fmla="*/ 691 w 821"/>
                <a:gd name="T31" fmla="*/ 585 h 880"/>
                <a:gd name="T32" fmla="*/ 660 w 821"/>
                <a:gd name="T33" fmla="*/ 609 h 880"/>
                <a:gd name="T34" fmla="*/ 634 w 821"/>
                <a:gd name="T35" fmla="*/ 671 h 880"/>
                <a:gd name="T36" fmla="*/ 648 w 821"/>
                <a:gd name="T37" fmla="*/ 763 h 880"/>
                <a:gd name="T38" fmla="*/ 621 w 821"/>
                <a:gd name="T39" fmla="*/ 854 h 880"/>
                <a:gd name="T40" fmla="*/ 524 w 821"/>
                <a:gd name="T41" fmla="*/ 859 h 880"/>
                <a:gd name="T42" fmla="*/ 427 w 821"/>
                <a:gd name="T43" fmla="*/ 829 h 880"/>
                <a:gd name="T44" fmla="*/ 358 w 821"/>
                <a:gd name="T45" fmla="*/ 879 h 880"/>
                <a:gd name="T46" fmla="*/ 244 w 821"/>
                <a:gd name="T47" fmla="*/ 790 h 880"/>
                <a:gd name="T48" fmla="*/ 132 w 821"/>
                <a:gd name="T49" fmla="*/ 702 h 880"/>
                <a:gd name="T50" fmla="*/ 47 w 821"/>
                <a:gd name="T51" fmla="*/ 554 h 880"/>
                <a:gd name="T52" fmla="*/ 4 w 821"/>
                <a:gd name="T53" fmla="*/ 495 h 880"/>
                <a:gd name="T54" fmla="*/ 84 w 821"/>
                <a:gd name="T55" fmla="*/ 436 h 880"/>
                <a:gd name="T56" fmla="*/ 158 w 821"/>
                <a:gd name="T57" fmla="*/ 246 h 880"/>
                <a:gd name="T58" fmla="*/ 238 w 821"/>
                <a:gd name="T59" fmla="*/ 208 h 880"/>
                <a:gd name="T60" fmla="*/ 270 w 821"/>
                <a:gd name="T61" fmla="*/ 95 h 880"/>
                <a:gd name="T62" fmla="*/ 311 w 821"/>
                <a:gd name="T63" fmla="*/ 0 h 880"/>
                <a:gd name="T64" fmla="*/ 431 w 821"/>
                <a:gd name="T65" fmla="*/ 32 h 880"/>
                <a:gd name="T66" fmla="*/ 534 w 821"/>
                <a:gd name="T67" fmla="*/ 27 h 880"/>
                <a:gd name="T68" fmla="*/ 617 w 821"/>
                <a:gd name="T69" fmla="*/ 49 h 88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21"/>
                <a:gd name="T106" fmla="*/ 0 h 880"/>
                <a:gd name="T107" fmla="*/ 821 w 821"/>
                <a:gd name="T108" fmla="*/ 880 h 88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21" h="880">
                  <a:moveTo>
                    <a:pt x="617" y="49"/>
                  </a:moveTo>
                  <a:lnTo>
                    <a:pt x="604" y="87"/>
                  </a:lnTo>
                  <a:lnTo>
                    <a:pt x="568" y="107"/>
                  </a:lnTo>
                  <a:lnTo>
                    <a:pt x="538" y="160"/>
                  </a:lnTo>
                  <a:lnTo>
                    <a:pt x="470" y="160"/>
                  </a:lnTo>
                  <a:lnTo>
                    <a:pt x="428" y="186"/>
                  </a:lnTo>
                  <a:lnTo>
                    <a:pt x="482" y="192"/>
                  </a:lnTo>
                  <a:lnTo>
                    <a:pt x="494" y="216"/>
                  </a:lnTo>
                  <a:lnTo>
                    <a:pt x="551" y="206"/>
                  </a:lnTo>
                  <a:lnTo>
                    <a:pt x="595" y="184"/>
                  </a:lnTo>
                  <a:lnTo>
                    <a:pt x="623" y="153"/>
                  </a:lnTo>
                  <a:lnTo>
                    <a:pt x="684" y="178"/>
                  </a:lnTo>
                  <a:lnTo>
                    <a:pt x="680" y="222"/>
                  </a:lnTo>
                  <a:lnTo>
                    <a:pt x="723" y="210"/>
                  </a:lnTo>
                  <a:lnTo>
                    <a:pt x="757" y="217"/>
                  </a:lnTo>
                  <a:lnTo>
                    <a:pt x="784" y="240"/>
                  </a:lnTo>
                  <a:lnTo>
                    <a:pt x="776" y="278"/>
                  </a:lnTo>
                  <a:lnTo>
                    <a:pt x="721" y="313"/>
                  </a:lnTo>
                  <a:lnTo>
                    <a:pt x="705" y="345"/>
                  </a:lnTo>
                  <a:lnTo>
                    <a:pt x="784" y="309"/>
                  </a:lnTo>
                  <a:lnTo>
                    <a:pt x="821" y="321"/>
                  </a:lnTo>
                  <a:lnTo>
                    <a:pt x="797" y="370"/>
                  </a:lnTo>
                  <a:lnTo>
                    <a:pt x="745" y="412"/>
                  </a:lnTo>
                  <a:lnTo>
                    <a:pt x="766" y="442"/>
                  </a:lnTo>
                  <a:lnTo>
                    <a:pt x="766" y="517"/>
                  </a:lnTo>
                  <a:lnTo>
                    <a:pt x="727" y="530"/>
                  </a:lnTo>
                  <a:lnTo>
                    <a:pt x="782" y="566"/>
                  </a:lnTo>
                  <a:lnTo>
                    <a:pt x="797" y="595"/>
                  </a:lnTo>
                  <a:lnTo>
                    <a:pt x="760" y="615"/>
                  </a:lnTo>
                  <a:lnTo>
                    <a:pt x="748" y="646"/>
                  </a:lnTo>
                  <a:lnTo>
                    <a:pt x="711" y="646"/>
                  </a:lnTo>
                  <a:lnTo>
                    <a:pt x="691" y="585"/>
                  </a:lnTo>
                  <a:lnTo>
                    <a:pt x="684" y="622"/>
                  </a:lnTo>
                  <a:lnTo>
                    <a:pt x="660" y="609"/>
                  </a:lnTo>
                  <a:lnTo>
                    <a:pt x="668" y="681"/>
                  </a:lnTo>
                  <a:lnTo>
                    <a:pt x="634" y="671"/>
                  </a:lnTo>
                  <a:lnTo>
                    <a:pt x="649" y="711"/>
                  </a:lnTo>
                  <a:lnTo>
                    <a:pt x="648" y="763"/>
                  </a:lnTo>
                  <a:lnTo>
                    <a:pt x="619" y="775"/>
                  </a:lnTo>
                  <a:lnTo>
                    <a:pt x="621" y="854"/>
                  </a:lnTo>
                  <a:lnTo>
                    <a:pt x="564" y="848"/>
                  </a:lnTo>
                  <a:lnTo>
                    <a:pt x="524" y="859"/>
                  </a:lnTo>
                  <a:lnTo>
                    <a:pt x="447" y="880"/>
                  </a:lnTo>
                  <a:lnTo>
                    <a:pt x="427" y="829"/>
                  </a:lnTo>
                  <a:lnTo>
                    <a:pt x="379" y="829"/>
                  </a:lnTo>
                  <a:lnTo>
                    <a:pt x="358" y="879"/>
                  </a:lnTo>
                  <a:lnTo>
                    <a:pt x="268" y="872"/>
                  </a:lnTo>
                  <a:lnTo>
                    <a:pt x="244" y="790"/>
                  </a:lnTo>
                  <a:lnTo>
                    <a:pt x="195" y="712"/>
                  </a:lnTo>
                  <a:lnTo>
                    <a:pt x="132" y="702"/>
                  </a:lnTo>
                  <a:lnTo>
                    <a:pt x="114" y="615"/>
                  </a:lnTo>
                  <a:lnTo>
                    <a:pt x="47" y="554"/>
                  </a:lnTo>
                  <a:lnTo>
                    <a:pt x="0" y="538"/>
                  </a:lnTo>
                  <a:lnTo>
                    <a:pt x="4" y="495"/>
                  </a:lnTo>
                  <a:lnTo>
                    <a:pt x="24" y="455"/>
                  </a:lnTo>
                  <a:lnTo>
                    <a:pt x="84" y="436"/>
                  </a:lnTo>
                  <a:lnTo>
                    <a:pt x="164" y="332"/>
                  </a:lnTo>
                  <a:lnTo>
                    <a:pt x="158" y="246"/>
                  </a:lnTo>
                  <a:lnTo>
                    <a:pt x="178" y="214"/>
                  </a:lnTo>
                  <a:lnTo>
                    <a:pt x="238" y="208"/>
                  </a:lnTo>
                  <a:lnTo>
                    <a:pt x="218" y="147"/>
                  </a:lnTo>
                  <a:lnTo>
                    <a:pt x="270" y="95"/>
                  </a:lnTo>
                  <a:lnTo>
                    <a:pt x="276" y="25"/>
                  </a:lnTo>
                  <a:lnTo>
                    <a:pt x="311" y="0"/>
                  </a:lnTo>
                  <a:lnTo>
                    <a:pt x="367" y="44"/>
                  </a:lnTo>
                  <a:lnTo>
                    <a:pt x="431" y="32"/>
                  </a:lnTo>
                  <a:lnTo>
                    <a:pt x="487" y="51"/>
                  </a:lnTo>
                  <a:lnTo>
                    <a:pt x="534" y="27"/>
                  </a:lnTo>
                  <a:lnTo>
                    <a:pt x="574" y="15"/>
                  </a:lnTo>
                  <a:lnTo>
                    <a:pt x="617" y="4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5" name="Freeform 103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4153" y="2141"/>
              <a:ext cx="745" cy="632"/>
            </a:xfrm>
            <a:custGeom>
              <a:avLst/>
              <a:gdLst>
                <a:gd name="T0" fmla="*/ 553 w 2832"/>
                <a:gd name="T1" fmla="*/ 0 h 2383"/>
                <a:gd name="T2" fmla="*/ 412 w 2832"/>
                <a:gd name="T3" fmla="*/ 153 h 2383"/>
                <a:gd name="T4" fmla="*/ 233 w 2832"/>
                <a:gd name="T5" fmla="*/ 245 h 2383"/>
                <a:gd name="T6" fmla="*/ 88 w 2832"/>
                <a:gd name="T7" fmla="*/ 355 h 2383"/>
                <a:gd name="T8" fmla="*/ 5 w 2832"/>
                <a:gd name="T9" fmla="*/ 589 h 2383"/>
                <a:gd name="T10" fmla="*/ 27 w 2832"/>
                <a:gd name="T11" fmla="*/ 739 h 2383"/>
                <a:gd name="T12" fmla="*/ 359 w 2832"/>
                <a:gd name="T13" fmla="*/ 846 h 2383"/>
                <a:gd name="T14" fmla="*/ 580 w 2832"/>
                <a:gd name="T15" fmla="*/ 847 h 2383"/>
                <a:gd name="T16" fmla="*/ 856 w 2832"/>
                <a:gd name="T17" fmla="*/ 809 h 2383"/>
                <a:gd name="T18" fmla="*/ 1036 w 2832"/>
                <a:gd name="T19" fmla="*/ 928 h 2383"/>
                <a:gd name="T20" fmla="*/ 1165 w 2832"/>
                <a:gd name="T21" fmla="*/ 901 h 2383"/>
                <a:gd name="T22" fmla="*/ 1348 w 2832"/>
                <a:gd name="T23" fmla="*/ 1104 h 2383"/>
                <a:gd name="T24" fmla="*/ 1573 w 2832"/>
                <a:gd name="T25" fmla="*/ 1213 h 2383"/>
                <a:gd name="T26" fmla="*/ 1714 w 2832"/>
                <a:gd name="T27" fmla="*/ 1504 h 2383"/>
                <a:gd name="T28" fmla="*/ 1629 w 2832"/>
                <a:gd name="T29" fmla="*/ 1691 h 2383"/>
                <a:gd name="T30" fmla="*/ 1527 w 2832"/>
                <a:gd name="T31" fmla="*/ 1844 h 2383"/>
                <a:gd name="T32" fmla="*/ 1488 w 2832"/>
                <a:gd name="T33" fmla="*/ 1997 h 2383"/>
                <a:gd name="T34" fmla="*/ 1488 w 2832"/>
                <a:gd name="T35" fmla="*/ 2054 h 2383"/>
                <a:gd name="T36" fmla="*/ 1580 w 2832"/>
                <a:gd name="T37" fmla="*/ 2046 h 2383"/>
                <a:gd name="T38" fmla="*/ 1680 w 2832"/>
                <a:gd name="T39" fmla="*/ 2004 h 2383"/>
                <a:gd name="T40" fmla="*/ 1818 w 2832"/>
                <a:gd name="T41" fmla="*/ 2116 h 2383"/>
                <a:gd name="T42" fmla="*/ 1984 w 2832"/>
                <a:gd name="T43" fmla="*/ 2195 h 2383"/>
                <a:gd name="T44" fmla="*/ 2047 w 2832"/>
                <a:gd name="T45" fmla="*/ 2367 h 2383"/>
                <a:gd name="T46" fmla="*/ 2207 w 2832"/>
                <a:gd name="T47" fmla="*/ 2383 h 2383"/>
                <a:gd name="T48" fmla="*/ 2316 w 2832"/>
                <a:gd name="T49" fmla="*/ 2261 h 2383"/>
                <a:gd name="T50" fmla="*/ 2321 w 2832"/>
                <a:gd name="T51" fmla="*/ 2132 h 2383"/>
                <a:gd name="T52" fmla="*/ 2455 w 2832"/>
                <a:gd name="T53" fmla="*/ 1936 h 2383"/>
                <a:gd name="T54" fmla="*/ 2409 w 2832"/>
                <a:gd name="T55" fmla="*/ 1784 h 2383"/>
                <a:gd name="T56" fmla="*/ 2646 w 2832"/>
                <a:gd name="T57" fmla="*/ 1810 h 2383"/>
                <a:gd name="T58" fmla="*/ 2752 w 2832"/>
                <a:gd name="T59" fmla="*/ 1715 h 2383"/>
                <a:gd name="T60" fmla="*/ 2787 w 2832"/>
                <a:gd name="T61" fmla="*/ 1626 h 2383"/>
                <a:gd name="T62" fmla="*/ 2817 w 2832"/>
                <a:gd name="T63" fmla="*/ 1473 h 2383"/>
                <a:gd name="T64" fmla="*/ 2646 w 2832"/>
                <a:gd name="T65" fmla="*/ 1366 h 2383"/>
                <a:gd name="T66" fmla="*/ 2413 w 2832"/>
                <a:gd name="T67" fmla="*/ 1311 h 2383"/>
                <a:gd name="T68" fmla="*/ 2482 w 2832"/>
                <a:gd name="T69" fmla="*/ 1534 h 2383"/>
                <a:gd name="T70" fmla="*/ 2385 w 2832"/>
                <a:gd name="T71" fmla="*/ 1642 h 2383"/>
                <a:gd name="T72" fmla="*/ 2187 w 2832"/>
                <a:gd name="T73" fmla="*/ 1619 h 2383"/>
                <a:gd name="T74" fmla="*/ 2047 w 2832"/>
                <a:gd name="T75" fmla="*/ 1297 h 2383"/>
                <a:gd name="T76" fmla="*/ 1906 w 2832"/>
                <a:gd name="T77" fmla="*/ 1234 h 2383"/>
                <a:gd name="T78" fmla="*/ 1845 w 2832"/>
                <a:gd name="T79" fmla="*/ 1062 h 2383"/>
                <a:gd name="T80" fmla="*/ 1931 w 2832"/>
                <a:gd name="T81" fmla="*/ 981 h 2383"/>
                <a:gd name="T82" fmla="*/ 1918 w 2832"/>
                <a:gd name="T83" fmla="*/ 829 h 2383"/>
                <a:gd name="T84" fmla="*/ 1772 w 2832"/>
                <a:gd name="T85" fmla="*/ 810 h 2383"/>
                <a:gd name="T86" fmla="*/ 1629 w 2832"/>
                <a:gd name="T87" fmla="*/ 890 h 2383"/>
                <a:gd name="T88" fmla="*/ 1398 w 2832"/>
                <a:gd name="T89" fmla="*/ 890 h 2383"/>
                <a:gd name="T90" fmla="*/ 1291 w 2832"/>
                <a:gd name="T91" fmla="*/ 766 h 2383"/>
                <a:gd name="T92" fmla="*/ 1205 w 2832"/>
                <a:gd name="T93" fmla="*/ 712 h 2383"/>
                <a:gd name="T94" fmla="*/ 1195 w 2832"/>
                <a:gd name="T95" fmla="*/ 603 h 2383"/>
                <a:gd name="T96" fmla="*/ 1233 w 2832"/>
                <a:gd name="T97" fmla="*/ 472 h 2383"/>
                <a:gd name="T98" fmla="*/ 1065 w 2832"/>
                <a:gd name="T99" fmla="*/ 435 h 2383"/>
                <a:gd name="T100" fmla="*/ 875 w 2832"/>
                <a:gd name="T101" fmla="*/ 523 h 2383"/>
                <a:gd name="T102" fmla="*/ 730 w 2832"/>
                <a:gd name="T103" fmla="*/ 327 h 2383"/>
                <a:gd name="T104" fmla="*/ 748 w 2832"/>
                <a:gd name="T105" fmla="*/ 125 h 2383"/>
                <a:gd name="T106" fmla="*/ 743 w 2832"/>
                <a:gd name="T107" fmla="*/ 29 h 238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832"/>
                <a:gd name="T163" fmla="*/ 0 h 2383"/>
                <a:gd name="T164" fmla="*/ 2832 w 2832"/>
                <a:gd name="T165" fmla="*/ 2383 h 238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832" h="2383">
                  <a:moveTo>
                    <a:pt x="743" y="29"/>
                  </a:moveTo>
                  <a:lnTo>
                    <a:pt x="613" y="27"/>
                  </a:lnTo>
                  <a:lnTo>
                    <a:pt x="553" y="0"/>
                  </a:lnTo>
                  <a:lnTo>
                    <a:pt x="550" y="98"/>
                  </a:lnTo>
                  <a:lnTo>
                    <a:pt x="514" y="147"/>
                  </a:lnTo>
                  <a:lnTo>
                    <a:pt x="412" y="153"/>
                  </a:lnTo>
                  <a:lnTo>
                    <a:pt x="374" y="196"/>
                  </a:lnTo>
                  <a:lnTo>
                    <a:pt x="305" y="192"/>
                  </a:lnTo>
                  <a:lnTo>
                    <a:pt x="233" y="245"/>
                  </a:lnTo>
                  <a:lnTo>
                    <a:pt x="186" y="271"/>
                  </a:lnTo>
                  <a:lnTo>
                    <a:pt x="156" y="322"/>
                  </a:lnTo>
                  <a:lnTo>
                    <a:pt x="88" y="355"/>
                  </a:lnTo>
                  <a:lnTo>
                    <a:pt x="17" y="370"/>
                  </a:lnTo>
                  <a:lnTo>
                    <a:pt x="0" y="426"/>
                  </a:lnTo>
                  <a:lnTo>
                    <a:pt x="5" y="589"/>
                  </a:lnTo>
                  <a:lnTo>
                    <a:pt x="24" y="637"/>
                  </a:lnTo>
                  <a:lnTo>
                    <a:pt x="11" y="691"/>
                  </a:lnTo>
                  <a:lnTo>
                    <a:pt x="27" y="739"/>
                  </a:lnTo>
                  <a:lnTo>
                    <a:pt x="123" y="768"/>
                  </a:lnTo>
                  <a:lnTo>
                    <a:pt x="252" y="798"/>
                  </a:lnTo>
                  <a:lnTo>
                    <a:pt x="359" y="846"/>
                  </a:lnTo>
                  <a:lnTo>
                    <a:pt x="434" y="902"/>
                  </a:lnTo>
                  <a:lnTo>
                    <a:pt x="508" y="909"/>
                  </a:lnTo>
                  <a:lnTo>
                    <a:pt x="580" y="847"/>
                  </a:lnTo>
                  <a:lnTo>
                    <a:pt x="679" y="835"/>
                  </a:lnTo>
                  <a:lnTo>
                    <a:pt x="770" y="864"/>
                  </a:lnTo>
                  <a:lnTo>
                    <a:pt x="856" y="809"/>
                  </a:lnTo>
                  <a:lnTo>
                    <a:pt x="913" y="859"/>
                  </a:lnTo>
                  <a:lnTo>
                    <a:pt x="973" y="864"/>
                  </a:lnTo>
                  <a:lnTo>
                    <a:pt x="1036" y="928"/>
                  </a:lnTo>
                  <a:lnTo>
                    <a:pt x="1102" y="931"/>
                  </a:lnTo>
                  <a:lnTo>
                    <a:pt x="1114" y="902"/>
                  </a:lnTo>
                  <a:lnTo>
                    <a:pt x="1165" y="901"/>
                  </a:lnTo>
                  <a:lnTo>
                    <a:pt x="1159" y="993"/>
                  </a:lnTo>
                  <a:lnTo>
                    <a:pt x="1260" y="1062"/>
                  </a:lnTo>
                  <a:lnTo>
                    <a:pt x="1348" y="1104"/>
                  </a:lnTo>
                  <a:lnTo>
                    <a:pt x="1408" y="1184"/>
                  </a:lnTo>
                  <a:lnTo>
                    <a:pt x="1512" y="1164"/>
                  </a:lnTo>
                  <a:lnTo>
                    <a:pt x="1573" y="1213"/>
                  </a:lnTo>
                  <a:lnTo>
                    <a:pt x="1616" y="1275"/>
                  </a:lnTo>
                  <a:lnTo>
                    <a:pt x="1625" y="1390"/>
                  </a:lnTo>
                  <a:lnTo>
                    <a:pt x="1714" y="1504"/>
                  </a:lnTo>
                  <a:lnTo>
                    <a:pt x="1722" y="1605"/>
                  </a:lnTo>
                  <a:lnTo>
                    <a:pt x="1696" y="1692"/>
                  </a:lnTo>
                  <a:lnTo>
                    <a:pt x="1629" y="1691"/>
                  </a:lnTo>
                  <a:lnTo>
                    <a:pt x="1594" y="1727"/>
                  </a:lnTo>
                  <a:lnTo>
                    <a:pt x="1600" y="1807"/>
                  </a:lnTo>
                  <a:lnTo>
                    <a:pt x="1527" y="1844"/>
                  </a:lnTo>
                  <a:lnTo>
                    <a:pt x="1500" y="1907"/>
                  </a:lnTo>
                  <a:lnTo>
                    <a:pt x="1520" y="1967"/>
                  </a:lnTo>
                  <a:lnTo>
                    <a:pt x="1488" y="1997"/>
                  </a:lnTo>
                  <a:lnTo>
                    <a:pt x="1347" y="1985"/>
                  </a:lnTo>
                  <a:lnTo>
                    <a:pt x="1340" y="2046"/>
                  </a:lnTo>
                  <a:lnTo>
                    <a:pt x="1488" y="2054"/>
                  </a:lnTo>
                  <a:lnTo>
                    <a:pt x="1527" y="2132"/>
                  </a:lnTo>
                  <a:lnTo>
                    <a:pt x="1588" y="2129"/>
                  </a:lnTo>
                  <a:lnTo>
                    <a:pt x="1580" y="2046"/>
                  </a:lnTo>
                  <a:lnTo>
                    <a:pt x="1622" y="2024"/>
                  </a:lnTo>
                  <a:lnTo>
                    <a:pt x="1661" y="2042"/>
                  </a:lnTo>
                  <a:lnTo>
                    <a:pt x="1680" y="2004"/>
                  </a:lnTo>
                  <a:lnTo>
                    <a:pt x="1748" y="1998"/>
                  </a:lnTo>
                  <a:lnTo>
                    <a:pt x="1757" y="2096"/>
                  </a:lnTo>
                  <a:lnTo>
                    <a:pt x="1818" y="2116"/>
                  </a:lnTo>
                  <a:lnTo>
                    <a:pt x="1863" y="2199"/>
                  </a:lnTo>
                  <a:lnTo>
                    <a:pt x="1906" y="2218"/>
                  </a:lnTo>
                  <a:lnTo>
                    <a:pt x="1984" y="2195"/>
                  </a:lnTo>
                  <a:lnTo>
                    <a:pt x="2003" y="2273"/>
                  </a:lnTo>
                  <a:lnTo>
                    <a:pt x="2011" y="2330"/>
                  </a:lnTo>
                  <a:lnTo>
                    <a:pt x="2047" y="2367"/>
                  </a:lnTo>
                  <a:lnTo>
                    <a:pt x="2125" y="2355"/>
                  </a:lnTo>
                  <a:lnTo>
                    <a:pt x="2140" y="2383"/>
                  </a:lnTo>
                  <a:lnTo>
                    <a:pt x="2207" y="2383"/>
                  </a:lnTo>
                  <a:lnTo>
                    <a:pt x="2219" y="2306"/>
                  </a:lnTo>
                  <a:lnTo>
                    <a:pt x="2274" y="2299"/>
                  </a:lnTo>
                  <a:lnTo>
                    <a:pt x="2316" y="2261"/>
                  </a:lnTo>
                  <a:lnTo>
                    <a:pt x="2316" y="2205"/>
                  </a:lnTo>
                  <a:lnTo>
                    <a:pt x="2280" y="2153"/>
                  </a:lnTo>
                  <a:lnTo>
                    <a:pt x="2321" y="2132"/>
                  </a:lnTo>
                  <a:lnTo>
                    <a:pt x="2409" y="2132"/>
                  </a:lnTo>
                  <a:lnTo>
                    <a:pt x="2408" y="2009"/>
                  </a:lnTo>
                  <a:lnTo>
                    <a:pt x="2455" y="1936"/>
                  </a:lnTo>
                  <a:lnTo>
                    <a:pt x="2378" y="1920"/>
                  </a:lnTo>
                  <a:lnTo>
                    <a:pt x="2431" y="1856"/>
                  </a:lnTo>
                  <a:lnTo>
                    <a:pt x="2409" y="1784"/>
                  </a:lnTo>
                  <a:lnTo>
                    <a:pt x="2482" y="1779"/>
                  </a:lnTo>
                  <a:lnTo>
                    <a:pt x="2530" y="1814"/>
                  </a:lnTo>
                  <a:lnTo>
                    <a:pt x="2646" y="1810"/>
                  </a:lnTo>
                  <a:lnTo>
                    <a:pt x="2658" y="1735"/>
                  </a:lnTo>
                  <a:lnTo>
                    <a:pt x="2747" y="1742"/>
                  </a:lnTo>
                  <a:lnTo>
                    <a:pt x="2752" y="1715"/>
                  </a:lnTo>
                  <a:lnTo>
                    <a:pt x="2825" y="1704"/>
                  </a:lnTo>
                  <a:lnTo>
                    <a:pt x="2824" y="1657"/>
                  </a:lnTo>
                  <a:lnTo>
                    <a:pt x="2787" y="1626"/>
                  </a:lnTo>
                  <a:lnTo>
                    <a:pt x="2793" y="1574"/>
                  </a:lnTo>
                  <a:lnTo>
                    <a:pt x="2832" y="1527"/>
                  </a:lnTo>
                  <a:lnTo>
                    <a:pt x="2817" y="1473"/>
                  </a:lnTo>
                  <a:lnTo>
                    <a:pt x="2763" y="1429"/>
                  </a:lnTo>
                  <a:lnTo>
                    <a:pt x="2684" y="1421"/>
                  </a:lnTo>
                  <a:lnTo>
                    <a:pt x="2646" y="1366"/>
                  </a:lnTo>
                  <a:lnTo>
                    <a:pt x="2566" y="1360"/>
                  </a:lnTo>
                  <a:lnTo>
                    <a:pt x="2545" y="1311"/>
                  </a:lnTo>
                  <a:lnTo>
                    <a:pt x="2413" y="1311"/>
                  </a:lnTo>
                  <a:lnTo>
                    <a:pt x="2409" y="1436"/>
                  </a:lnTo>
                  <a:lnTo>
                    <a:pt x="2408" y="1489"/>
                  </a:lnTo>
                  <a:lnTo>
                    <a:pt x="2482" y="1534"/>
                  </a:lnTo>
                  <a:lnTo>
                    <a:pt x="2482" y="1617"/>
                  </a:lnTo>
                  <a:lnTo>
                    <a:pt x="2451" y="1643"/>
                  </a:lnTo>
                  <a:lnTo>
                    <a:pt x="2385" y="1642"/>
                  </a:lnTo>
                  <a:lnTo>
                    <a:pt x="2408" y="1735"/>
                  </a:lnTo>
                  <a:lnTo>
                    <a:pt x="2290" y="1699"/>
                  </a:lnTo>
                  <a:lnTo>
                    <a:pt x="2187" y="1619"/>
                  </a:lnTo>
                  <a:lnTo>
                    <a:pt x="2195" y="1504"/>
                  </a:lnTo>
                  <a:lnTo>
                    <a:pt x="2138" y="1348"/>
                  </a:lnTo>
                  <a:lnTo>
                    <a:pt x="2047" y="1297"/>
                  </a:lnTo>
                  <a:lnTo>
                    <a:pt x="2024" y="1245"/>
                  </a:lnTo>
                  <a:lnTo>
                    <a:pt x="1942" y="1246"/>
                  </a:lnTo>
                  <a:lnTo>
                    <a:pt x="1906" y="1234"/>
                  </a:lnTo>
                  <a:lnTo>
                    <a:pt x="1894" y="1189"/>
                  </a:lnTo>
                  <a:lnTo>
                    <a:pt x="1839" y="1184"/>
                  </a:lnTo>
                  <a:lnTo>
                    <a:pt x="1845" y="1062"/>
                  </a:lnTo>
                  <a:lnTo>
                    <a:pt x="1875" y="1031"/>
                  </a:lnTo>
                  <a:lnTo>
                    <a:pt x="1922" y="1023"/>
                  </a:lnTo>
                  <a:lnTo>
                    <a:pt x="1931" y="981"/>
                  </a:lnTo>
                  <a:lnTo>
                    <a:pt x="1916" y="945"/>
                  </a:lnTo>
                  <a:lnTo>
                    <a:pt x="1943" y="889"/>
                  </a:lnTo>
                  <a:lnTo>
                    <a:pt x="1918" y="829"/>
                  </a:lnTo>
                  <a:lnTo>
                    <a:pt x="1875" y="786"/>
                  </a:lnTo>
                  <a:lnTo>
                    <a:pt x="1814" y="804"/>
                  </a:lnTo>
                  <a:lnTo>
                    <a:pt x="1772" y="810"/>
                  </a:lnTo>
                  <a:lnTo>
                    <a:pt x="1735" y="835"/>
                  </a:lnTo>
                  <a:lnTo>
                    <a:pt x="1702" y="882"/>
                  </a:lnTo>
                  <a:lnTo>
                    <a:pt x="1629" y="890"/>
                  </a:lnTo>
                  <a:lnTo>
                    <a:pt x="1561" y="933"/>
                  </a:lnTo>
                  <a:lnTo>
                    <a:pt x="1487" y="909"/>
                  </a:lnTo>
                  <a:lnTo>
                    <a:pt x="1398" y="890"/>
                  </a:lnTo>
                  <a:lnTo>
                    <a:pt x="1340" y="870"/>
                  </a:lnTo>
                  <a:lnTo>
                    <a:pt x="1340" y="784"/>
                  </a:lnTo>
                  <a:lnTo>
                    <a:pt x="1291" y="766"/>
                  </a:lnTo>
                  <a:lnTo>
                    <a:pt x="1237" y="780"/>
                  </a:lnTo>
                  <a:lnTo>
                    <a:pt x="1230" y="744"/>
                  </a:lnTo>
                  <a:lnTo>
                    <a:pt x="1205" y="712"/>
                  </a:lnTo>
                  <a:lnTo>
                    <a:pt x="1153" y="695"/>
                  </a:lnTo>
                  <a:lnTo>
                    <a:pt x="1153" y="639"/>
                  </a:lnTo>
                  <a:lnTo>
                    <a:pt x="1195" y="603"/>
                  </a:lnTo>
                  <a:lnTo>
                    <a:pt x="1255" y="577"/>
                  </a:lnTo>
                  <a:lnTo>
                    <a:pt x="1250" y="515"/>
                  </a:lnTo>
                  <a:lnTo>
                    <a:pt x="1233" y="472"/>
                  </a:lnTo>
                  <a:lnTo>
                    <a:pt x="1190" y="435"/>
                  </a:lnTo>
                  <a:lnTo>
                    <a:pt x="1122" y="447"/>
                  </a:lnTo>
                  <a:lnTo>
                    <a:pt x="1065" y="435"/>
                  </a:lnTo>
                  <a:lnTo>
                    <a:pt x="1010" y="447"/>
                  </a:lnTo>
                  <a:lnTo>
                    <a:pt x="917" y="523"/>
                  </a:lnTo>
                  <a:lnTo>
                    <a:pt x="875" y="523"/>
                  </a:lnTo>
                  <a:lnTo>
                    <a:pt x="818" y="438"/>
                  </a:lnTo>
                  <a:lnTo>
                    <a:pt x="766" y="420"/>
                  </a:lnTo>
                  <a:lnTo>
                    <a:pt x="730" y="327"/>
                  </a:lnTo>
                  <a:lnTo>
                    <a:pt x="718" y="259"/>
                  </a:lnTo>
                  <a:lnTo>
                    <a:pt x="746" y="228"/>
                  </a:lnTo>
                  <a:lnTo>
                    <a:pt x="748" y="125"/>
                  </a:lnTo>
                  <a:lnTo>
                    <a:pt x="721" y="117"/>
                  </a:lnTo>
                  <a:lnTo>
                    <a:pt x="721" y="67"/>
                  </a:lnTo>
                  <a:lnTo>
                    <a:pt x="743" y="2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6" name="Freeform 104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4979" y="2249"/>
              <a:ext cx="183" cy="384"/>
            </a:xfrm>
            <a:custGeom>
              <a:avLst/>
              <a:gdLst>
                <a:gd name="T0" fmla="*/ 627 w 694"/>
                <a:gd name="T1" fmla="*/ 0 h 1450"/>
                <a:gd name="T2" fmla="*/ 661 w 694"/>
                <a:gd name="T3" fmla="*/ 60 h 1450"/>
                <a:gd name="T4" fmla="*/ 583 w 694"/>
                <a:gd name="T5" fmla="*/ 129 h 1450"/>
                <a:gd name="T6" fmla="*/ 687 w 694"/>
                <a:gd name="T7" fmla="*/ 184 h 1450"/>
                <a:gd name="T8" fmla="*/ 694 w 694"/>
                <a:gd name="T9" fmla="*/ 287 h 1450"/>
                <a:gd name="T10" fmla="*/ 655 w 694"/>
                <a:gd name="T11" fmla="*/ 362 h 1450"/>
                <a:gd name="T12" fmla="*/ 590 w 694"/>
                <a:gd name="T13" fmla="*/ 354 h 1450"/>
                <a:gd name="T14" fmla="*/ 594 w 694"/>
                <a:gd name="T15" fmla="*/ 446 h 1450"/>
                <a:gd name="T16" fmla="*/ 557 w 694"/>
                <a:gd name="T17" fmla="*/ 484 h 1450"/>
                <a:gd name="T18" fmla="*/ 563 w 694"/>
                <a:gd name="T19" fmla="*/ 549 h 1450"/>
                <a:gd name="T20" fmla="*/ 625 w 694"/>
                <a:gd name="T21" fmla="*/ 580 h 1450"/>
                <a:gd name="T22" fmla="*/ 687 w 694"/>
                <a:gd name="T23" fmla="*/ 684 h 1450"/>
                <a:gd name="T24" fmla="*/ 633 w 694"/>
                <a:gd name="T25" fmla="*/ 790 h 1450"/>
                <a:gd name="T26" fmla="*/ 639 w 694"/>
                <a:gd name="T27" fmla="*/ 874 h 1450"/>
                <a:gd name="T28" fmla="*/ 606 w 694"/>
                <a:gd name="T29" fmla="*/ 886 h 1450"/>
                <a:gd name="T30" fmla="*/ 606 w 694"/>
                <a:gd name="T31" fmla="*/ 955 h 1450"/>
                <a:gd name="T32" fmla="*/ 641 w 694"/>
                <a:gd name="T33" fmla="*/ 987 h 1450"/>
                <a:gd name="T34" fmla="*/ 637 w 694"/>
                <a:gd name="T35" fmla="*/ 1152 h 1450"/>
                <a:gd name="T36" fmla="*/ 545 w 694"/>
                <a:gd name="T37" fmla="*/ 1254 h 1450"/>
                <a:gd name="T38" fmla="*/ 465 w 694"/>
                <a:gd name="T39" fmla="*/ 1241 h 1450"/>
                <a:gd name="T40" fmla="*/ 453 w 694"/>
                <a:gd name="T41" fmla="*/ 1274 h 1450"/>
                <a:gd name="T42" fmla="*/ 345 w 694"/>
                <a:gd name="T43" fmla="*/ 1285 h 1450"/>
                <a:gd name="T44" fmla="*/ 349 w 694"/>
                <a:gd name="T45" fmla="*/ 1336 h 1450"/>
                <a:gd name="T46" fmla="*/ 272 w 694"/>
                <a:gd name="T47" fmla="*/ 1333 h 1450"/>
                <a:gd name="T48" fmla="*/ 266 w 694"/>
                <a:gd name="T49" fmla="*/ 1383 h 1450"/>
                <a:gd name="T50" fmla="*/ 180 w 694"/>
                <a:gd name="T51" fmla="*/ 1378 h 1450"/>
                <a:gd name="T52" fmla="*/ 105 w 694"/>
                <a:gd name="T53" fmla="*/ 1450 h 1450"/>
                <a:gd name="T54" fmla="*/ 24 w 694"/>
                <a:gd name="T55" fmla="*/ 1450 h 1450"/>
                <a:gd name="T56" fmla="*/ 1 w 694"/>
                <a:gd name="T57" fmla="*/ 1414 h 1450"/>
                <a:gd name="T58" fmla="*/ 1 w 694"/>
                <a:gd name="T59" fmla="*/ 1344 h 1450"/>
                <a:gd name="T60" fmla="*/ 49 w 694"/>
                <a:gd name="T61" fmla="*/ 1296 h 1450"/>
                <a:gd name="T62" fmla="*/ 45 w 694"/>
                <a:gd name="T63" fmla="*/ 1156 h 1450"/>
                <a:gd name="T64" fmla="*/ 5 w 694"/>
                <a:gd name="T65" fmla="*/ 1120 h 1450"/>
                <a:gd name="T66" fmla="*/ 13 w 694"/>
                <a:gd name="T67" fmla="*/ 1042 h 1450"/>
                <a:gd name="T68" fmla="*/ 5 w 694"/>
                <a:gd name="T69" fmla="*/ 875 h 1450"/>
                <a:gd name="T70" fmla="*/ 32 w 694"/>
                <a:gd name="T71" fmla="*/ 837 h 1450"/>
                <a:gd name="T72" fmla="*/ 55 w 694"/>
                <a:gd name="T73" fmla="*/ 741 h 1450"/>
                <a:gd name="T74" fmla="*/ 0 w 694"/>
                <a:gd name="T75" fmla="*/ 668 h 1450"/>
                <a:gd name="T76" fmla="*/ 5 w 694"/>
                <a:gd name="T77" fmla="*/ 600 h 1450"/>
                <a:gd name="T78" fmla="*/ 51 w 694"/>
                <a:gd name="T79" fmla="*/ 552 h 1450"/>
                <a:gd name="T80" fmla="*/ 57 w 694"/>
                <a:gd name="T81" fmla="*/ 440 h 1450"/>
                <a:gd name="T82" fmla="*/ 93 w 694"/>
                <a:gd name="T83" fmla="*/ 396 h 1450"/>
                <a:gd name="T84" fmla="*/ 101 w 694"/>
                <a:gd name="T85" fmla="*/ 310 h 1450"/>
                <a:gd name="T86" fmla="*/ 167 w 694"/>
                <a:gd name="T87" fmla="*/ 267 h 1450"/>
                <a:gd name="T88" fmla="*/ 245 w 694"/>
                <a:gd name="T89" fmla="*/ 265 h 1450"/>
                <a:gd name="T90" fmla="*/ 242 w 694"/>
                <a:gd name="T91" fmla="*/ 193 h 1450"/>
                <a:gd name="T92" fmla="*/ 274 w 694"/>
                <a:gd name="T93" fmla="*/ 170 h 1450"/>
                <a:gd name="T94" fmla="*/ 301 w 694"/>
                <a:gd name="T95" fmla="*/ 121 h 1450"/>
                <a:gd name="T96" fmla="*/ 369 w 694"/>
                <a:gd name="T97" fmla="*/ 114 h 1450"/>
                <a:gd name="T98" fmla="*/ 412 w 694"/>
                <a:gd name="T99" fmla="*/ 60 h 1450"/>
                <a:gd name="T100" fmla="*/ 521 w 694"/>
                <a:gd name="T101" fmla="*/ 66 h 1450"/>
                <a:gd name="T102" fmla="*/ 627 w 694"/>
                <a:gd name="T103" fmla="*/ 0 h 1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4"/>
                <a:gd name="T157" fmla="*/ 0 h 1450"/>
                <a:gd name="T158" fmla="*/ 694 w 694"/>
                <a:gd name="T159" fmla="*/ 1450 h 1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4" h="1450">
                  <a:moveTo>
                    <a:pt x="627" y="0"/>
                  </a:moveTo>
                  <a:lnTo>
                    <a:pt x="661" y="60"/>
                  </a:lnTo>
                  <a:lnTo>
                    <a:pt x="583" y="129"/>
                  </a:lnTo>
                  <a:lnTo>
                    <a:pt x="687" y="184"/>
                  </a:lnTo>
                  <a:lnTo>
                    <a:pt x="694" y="287"/>
                  </a:lnTo>
                  <a:lnTo>
                    <a:pt x="655" y="362"/>
                  </a:lnTo>
                  <a:lnTo>
                    <a:pt x="590" y="354"/>
                  </a:lnTo>
                  <a:lnTo>
                    <a:pt x="594" y="446"/>
                  </a:lnTo>
                  <a:lnTo>
                    <a:pt x="557" y="484"/>
                  </a:lnTo>
                  <a:lnTo>
                    <a:pt x="563" y="549"/>
                  </a:lnTo>
                  <a:lnTo>
                    <a:pt x="625" y="580"/>
                  </a:lnTo>
                  <a:lnTo>
                    <a:pt x="687" y="684"/>
                  </a:lnTo>
                  <a:lnTo>
                    <a:pt x="633" y="790"/>
                  </a:lnTo>
                  <a:lnTo>
                    <a:pt x="639" y="874"/>
                  </a:lnTo>
                  <a:lnTo>
                    <a:pt x="606" y="886"/>
                  </a:lnTo>
                  <a:lnTo>
                    <a:pt x="606" y="955"/>
                  </a:lnTo>
                  <a:lnTo>
                    <a:pt x="641" y="987"/>
                  </a:lnTo>
                  <a:lnTo>
                    <a:pt x="637" y="1152"/>
                  </a:lnTo>
                  <a:lnTo>
                    <a:pt x="545" y="1254"/>
                  </a:lnTo>
                  <a:lnTo>
                    <a:pt x="465" y="1241"/>
                  </a:lnTo>
                  <a:lnTo>
                    <a:pt x="453" y="1274"/>
                  </a:lnTo>
                  <a:lnTo>
                    <a:pt x="345" y="1285"/>
                  </a:lnTo>
                  <a:lnTo>
                    <a:pt x="349" y="1336"/>
                  </a:lnTo>
                  <a:lnTo>
                    <a:pt x="272" y="1333"/>
                  </a:lnTo>
                  <a:lnTo>
                    <a:pt x="266" y="1383"/>
                  </a:lnTo>
                  <a:lnTo>
                    <a:pt x="180" y="1378"/>
                  </a:lnTo>
                  <a:lnTo>
                    <a:pt x="105" y="1450"/>
                  </a:lnTo>
                  <a:lnTo>
                    <a:pt x="24" y="1450"/>
                  </a:lnTo>
                  <a:lnTo>
                    <a:pt x="1" y="1414"/>
                  </a:lnTo>
                  <a:lnTo>
                    <a:pt x="1" y="1344"/>
                  </a:lnTo>
                  <a:lnTo>
                    <a:pt x="49" y="1296"/>
                  </a:lnTo>
                  <a:lnTo>
                    <a:pt x="45" y="1156"/>
                  </a:lnTo>
                  <a:lnTo>
                    <a:pt x="5" y="1120"/>
                  </a:lnTo>
                  <a:lnTo>
                    <a:pt x="13" y="1042"/>
                  </a:lnTo>
                  <a:lnTo>
                    <a:pt x="5" y="875"/>
                  </a:lnTo>
                  <a:lnTo>
                    <a:pt x="32" y="837"/>
                  </a:lnTo>
                  <a:lnTo>
                    <a:pt x="55" y="741"/>
                  </a:lnTo>
                  <a:lnTo>
                    <a:pt x="0" y="668"/>
                  </a:lnTo>
                  <a:lnTo>
                    <a:pt x="5" y="600"/>
                  </a:lnTo>
                  <a:lnTo>
                    <a:pt x="51" y="552"/>
                  </a:lnTo>
                  <a:lnTo>
                    <a:pt x="57" y="440"/>
                  </a:lnTo>
                  <a:lnTo>
                    <a:pt x="93" y="396"/>
                  </a:lnTo>
                  <a:lnTo>
                    <a:pt x="101" y="310"/>
                  </a:lnTo>
                  <a:lnTo>
                    <a:pt x="167" y="267"/>
                  </a:lnTo>
                  <a:lnTo>
                    <a:pt x="245" y="265"/>
                  </a:lnTo>
                  <a:lnTo>
                    <a:pt x="242" y="193"/>
                  </a:lnTo>
                  <a:lnTo>
                    <a:pt x="274" y="170"/>
                  </a:lnTo>
                  <a:lnTo>
                    <a:pt x="301" y="121"/>
                  </a:lnTo>
                  <a:lnTo>
                    <a:pt x="369" y="114"/>
                  </a:lnTo>
                  <a:lnTo>
                    <a:pt x="412" y="60"/>
                  </a:lnTo>
                  <a:lnTo>
                    <a:pt x="521" y="66"/>
                  </a:lnTo>
                  <a:lnTo>
                    <a:pt x="627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7" name="Freeform 105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3906" y="2337"/>
              <a:ext cx="700" cy="487"/>
            </a:xfrm>
            <a:custGeom>
              <a:avLst/>
              <a:gdLst>
                <a:gd name="T0" fmla="*/ 1053 w 2653"/>
                <a:gd name="T1" fmla="*/ 29 h 1837"/>
                <a:gd name="T2" fmla="*/ 1290 w 2653"/>
                <a:gd name="T3" fmla="*/ 106 h 1837"/>
                <a:gd name="T4" fmla="*/ 1439 w 2653"/>
                <a:gd name="T5" fmla="*/ 170 h 1837"/>
                <a:gd name="T6" fmla="*/ 1610 w 2653"/>
                <a:gd name="T7" fmla="*/ 96 h 1837"/>
                <a:gd name="T8" fmla="*/ 1787 w 2653"/>
                <a:gd name="T9" fmla="*/ 70 h 1837"/>
                <a:gd name="T10" fmla="*/ 1904 w 2653"/>
                <a:gd name="T11" fmla="*/ 124 h 1837"/>
                <a:gd name="T12" fmla="*/ 2032 w 2653"/>
                <a:gd name="T13" fmla="*/ 192 h 1837"/>
                <a:gd name="T14" fmla="*/ 2095 w 2653"/>
                <a:gd name="T15" fmla="*/ 162 h 1837"/>
                <a:gd name="T16" fmla="*/ 2191 w 2653"/>
                <a:gd name="T17" fmla="*/ 323 h 1837"/>
                <a:gd name="T18" fmla="*/ 2339 w 2653"/>
                <a:gd name="T19" fmla="*/ 445 h 1837"/>
                <a:gd name="T20" fmla="*/ 2504 w 2653"/>
                <a:gd name="T21" fmla="*/ 474 h 1837"/>
                <a:gd name="T22" fmla="*/ 2556 w 2653"/>
                <a:gd name="T23" fmla="*/ 651 h 1837"/>
                <a:gd name="T24" fmla="*/ 2653 w 2653"/>
                <a:gd name="T25" fmla="*/ 867 h 1837"/>
                <a:gd name="T26" fmla="*/ 2559 w 2653"/>
                <a:gd name="T27" fmla="*/ 952 h 1837"/>
                <a:gd name="T28" fmla="*/ 2531 w 2653"/>
                <a:gd name="T29" fmla="*/ 1069 h 1837"/>
                <a:gd name="T30" fmla="*/ 2431 w 2653"/>
                <a:gd name="T31" fmla="*/ 1169 h 1837"/>
                <a:gd name="T32" fmla="*/ 2419 w 2653"/>
                <a:gd name="T33" fmla="*/ 1258 h 1837"/>
                <a:gd name="T34" fmla="*/ 2271 w 2653"/>
                <a:gd name="T35" fmla="*/ 1307 h 1837"/>
                <a:gd name="T36" fmla="*/ 2459 w 2653"/>
                <a:gd name="T37" fmla="*/ 1393 h 1837"/>
                <a:gd name="T38" fmla="*/ 2559 w 2653"/>
                <a:gd name="T39" fmla="*/ 1432 h 1837"/>
                <a:gd name="T40" fmla="*/ 2516 w 2653"/>
                <a:gd name="T41" fmla="*/ 1512 h 1837"/>
                <a:gd name="T42" fmla="*/ 2340 w 2653"/>
                <a:gd name="T43" fmla="*/ 1474 h 1837"/>
                <a:gd name="T44" fmla="*/ 2222 w 2653"/>
                <a:gd name="T45" fmla="*/ 1620 h 1837"/>
                <a:gd name="T46" fmla="*/ 2026 w 2653"/>
                <a:gd name="T47" fmla="*/ 1482 h 1837"/>
                <a:gd name="T48" fmla="*/ 1832 w 2653"/>
                <a:gd name="T49" fmla="*/ 1450 h 1837"/>
                <a:gd name="T50" fmla="*/ 1612 w 2653"/>
                <a:gd name="T51" fmla="*/ 1450 h 1837"/>
                <a:gd name="T52" fmla="*/ 1567 w 2653"/>
                <a:gd name="T53" fmla="*/ 1536 h 1837"/>
                <a:gd name="T54" fmla="*/ 1469 w 2653"/>
                <a:gd name="T55" fmla="*/ 1562 h 1837"/>
                <a:gd name="T56" fmla="*/ 1451 w 2653"/>
                <a:gd name="T57" fmla="*/ 1713 h 1837"/>
                <a:gd name="T58" fmla="*/ 1404 w 2653"/>
                <a:gd name="T59" fmla="*/ 1811 h 1837"/>
                <a:gd name="T60" fmla="*/ 1290 w 2653"/>
                <a:gd name="T61" fmla="*/ 1784 h 1837"/>
                <a:gd name="T62" fmla="*/ 1144 w 2653"/>
                <a:gd name="T63" fmla="*/ 1770 h 1837"/>
                <a:gd name="T64" fmla="*/ 993 w 2653"/>
                <a:gd name="T65" fmla="*/ 1593 h 1837"/>
                <a:gd name="T66" fmla="*/ 831 w 2653"/>
                <a:gd name="T67" fmla="*/ 1555 h 1837"/>
                <a:gd name="T68" fmla="*/ 709 w 2653"/>
                <a:gd name="T69" fmla="*/ 1536 h 1837"/>
                <a:gd name="T70" fmla="*/ 603 w 2653"/>
                <a:gd name="T71" fmla="*/ 1506 h 1837"/>
                <a:gd name="T72" fmla="*/ 408 w 2653"/>
                <a:gd name="T73" fmla="*/ 1430 h 1837"/>
                <a:gd name="T74" fmla="*/ 276 w 2653"/>
                <a:gd name="T75" fmla="*/ 1386 h 1837"/>
                <a:gd name="T76" fmla="*/ 123 w 2653"/>
                <a:gd name="T77" fmla="*/ 1286 h 1837"/>
                <a:gd name="T78" fmla="*/ 79 w 2653"/>
                <a:gd name="T79" fmla="*/ 1184 h 1837"/>
                <a:gd name="T80" fmla="*/ 0 w 2653"/>
                <a:gd name="T81" fmla="*/ 972 h 1837"/>
                <a:gd name="T82" fmla="*/ 49 w 2653"/>
                <a:gd name="T83" fmla="*/ 864 h 1837"/>
                <a:gd name="T84" fmla="*/ 120 w 2653"/>
                <a:gd name="T85" fmla="*/ 726 h 1837"/>
                <a:gd name="T86" fmla="*/ 105 w 2653"/>
                <a:gd name="T87" fmla="*/ 678 h 1837"/>
                <a:gd name="T88" fmla="*/ 184 w 2653"/>
                <a:gd name="T89" fmla="*/ 635 h 1837"/>
                <a:gd name="T90" fmla="*/ 283 w 2653"/>
                <a:gd name="T91" fmla="*/ 647 h 1837"/>
                <a:gd name="T92" fmla="*/ 358 w 2653"/>
                <a:gd name="T93" fmla="*/ 606 h 1837"/>
                <a:gd name="T94" fmla="*/ 299 w 2653"/>
                <a:gd name="T95" fmla="*/ 544 h 1837"/>
                <a:gd name="T96" fmla="*/ 366 w 2653"/>
                <a:gd name="T97" fmla="*/ 494 h 1837"/>
                <a:gd name="T98" fmla="*/ 341 w 2653"/>
                <a:gd name="T99" fmla="*/ 364 h 1837"/>
                <a:gd name="T100" fmla="*/ 251 w 2653"/>
                <a:gd name="T101" fmla="*/ 268 h 1837"/>
                <a:gd name="T102" fmla="*/ 246 w 2653"/>
                <a:gd name="T103" fmla="*/ 151 h 1837"/>
                <a:gd name="T104" fmla="*/ 377 w 2653"/>
                <a:gd name="T105" fmla="*/ 96 h 1837"/>
                <a:gd name="T106" fmla="*/ 582 w 2653"/>
                <a:gd name="T107" fmla="*/ 88 h 1837"/>
                <a:gd name="T108" fmla="*/ 790 w 2653"/>
                <a:gd name="T109" fmla="*/ 47 h 1837"/>
                <a:gd name="T110" fmla="*/ 960 w 2653"/>
                <a:gd name="T111" fmla="*/ 0 h 183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653"/>
                <a:gd name="T169" fmla="*/ 0 h 1837"/>
                <a:gd name="T170" fmla="*/ 2653 w 2653"/>
                <a:gd name="T171" fmla="*/ 1837 h 183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653" h="1837">
                  <a:moveTo>
                    <a:pt x="960" y="0"/>
                  </a:moveTo>
                  <a:lnTo>
                    <a:pt x="1053" y="29"/>
                  </a:lnTo>
                  <a:lnTo>
                    <a:pt x="1182" y="59"/>
                  </a:lnTo>
                  <a:lnTo>
                    <a:pt x="1290" y="106"/>
                  </a:lnTo>
                  <a:lnTo>
                    <a:pt x="1365" y="163"/>
                  </a:lnTo>
                  <a:lnTo>
                    <a:pt x="1439" y="170"/>
                  </a:lnTo>
                  <a:lnTo>
                    <a:pt x="1511" y="108"/>
                  </a:lnTo>
                  <a:lnTo>
                    <a:pt x="1610" y="96"/>
                  </a:lnTo>
                  <a:lnTo>
                    <a:pt x="1701" y="124"/>
                  </a:lnTo>
                  <a:lnTo>
                    <a:pt x="1787" y="70"/>
                  </a:lnTo>
                  <a:lnTo>
                    <a:pt x="1843" y="120"/>
                  </a:lnTo>
                  <a:lnTo>
                    <a:pt x="1904" y="124"/>
                  </a:lnTo>
                  <a:lnTo>
                    <a:pt x="1967" y="189"/>
                  </a:lnTo>
                  <a:lnTo>
                    <a:pt x="2032" y="192"/>
                  </a:lnTo>
                  <a:lnTo>
                    <a:pt x="2045" y="163"/>
                  </a:lnTo>
                  <a:lnTo>
                    <a:pt x="2095" y="162"/>
                  </a:lnTo>
                  <a:lnTo>
                    <a:pt x="2089" y="253"/>
                  </a:lnTo>
                  <a:lnTo>
                    <a:pt x="2191" y="323"/>
                  </a:lnTo>
                  <a:lnTo>
                    <a:pt x="2279" y="365"/>
                  </a:lnTo>
                  <a:lnTo>
                    <a:pt x="2339" y="445"/>
                  </a:lnTo>
                  <a:lnTo>
                    <a:pt x="2443" y="425"/>
                  </a:lnTo>
                  <a:lnTo>
                    <a:pt x="2504" y="474"/>
                  </a:lnTo>
                  <a:lnTo>
                    <a:pt x="2547" y="536"/>
                  </a:lnTo>
                  <a:lnTo>
                    <a:pt x="2556" y="651"/>
                  </a:lnTo>
                  <a:lnTo>
                    <a:pt x="2645" y="764"/>
                  </a:lnTo>
                  <a:lnTo>
                    <a:pt x="2653" y="867"/>
                  </a:lnTo>
                  <a:lnTo>
                    <a:pt x="2627" y="954"/>
                  </a:lnTo>
                  <a:lnTo>
                    <a:pt x="2559" y="952"/>
                  </a:lnTo>
                  <a:lnTo>
                    <a:pt x="2526" y="990"/>
                  </a:lnTo>
                  <a:lnTo>
                    <a:pt x="2531" y="1069"/>
                  </a:lnTo>
                  <a:lnTo>
                    <a:pt x="2457" y="1105"/>
                  </a:lnTo>
                  <a:lnTo>
                    <a:pt x="2431" y="1169"/>
                  </a:lnTo>
                  <a:lnTo>
                    <a:pt x="2451" y="1228"/>
                  </a:lnTo>
                  <a:lnTo>
                    <a:pt x="2419" y="1258"/>
                  </a:lnTo>
                  <a:lnTo>
                    <a:pt x="2278" y="1246"/>
                  </a:lnTo>
                  <a:lnTo>
                    <a:pt x="2271" y="1307"/>
                  </a:lnTo>
                  <a:lnTo>
                    <a:pt x="2419" y="1315"/>
                  </a:lnTo>
                  <a:lnTo>
                    <a:pt x="2459" y="1393"/>
                  </a:lnTo>
                  <a:lnTo>
                    <a:pt x="2516" y="1390"/>
                  </a:lnTo>
                  <a:lnTo>
                    <a:pt x="2559" y="1432"/>
                  </a:lnTo>
                  <a:lnTo>
                    <a:pt x="2528" y="1467"/>
                  </a:lnTo>
                  <a:lnTo>
                    <a:pt x="2516" y="1512"/>
                  </a:lnTo>
                  <a:lnTo>
                    <a:pt x="2413" y="1524"/>
                  </a:lnTo>
                  <a:lnTo>
                    <a:pt x="2340" y="1474"/>
                  </a:lnTo>
                  <a:lnTo>
                    <a:pt x="2267" y="1524"/>
                  </a:lnTo>
                  <a:lnTo>
                    <a:pt x="2222" y="1620"/>
                  </a:lnTo>
                  <a:lnTo>
                    <a:pt x="2161" y="1632"/>
                  </a:lnTo>
                  <a:lnTo>
                    <a:pt x="2026" y="1482"/>
                  </a:lnTo>
                  <a:lnTo>
                    <a:pt x="1934" y="1491"/>
                  </a:lnTo>
                  <a:lnTo>
                    <a:pt x="1832" y="1450"/>
                  </a:lnTo>
                  <a:lnTo>
                    <a:pt x="1717" y="1448"/>
                  </a:lnTo>
                  <a:lnTo>
                    <a:pt x="1612" y="1450"/>
                  </a:lnTo>
                  <a:lnTo>
                    <a:pt x="1570" y="1486"/>
                  </a:lnTo>
                  <a:lnTo>
                    <a:pt x="1567" y="1536"/>
                  </a:lnTo>
                  <a:lnTo>
                    <a:pt x="1533" y="1565"/>
                  </a:lnTo>
                  <a:lnTo>
                    <a:pt x="1469" y="1562"/>
                  </a:lnTo>
                  <a:lnTo>
                    <a:pt x="1476" y="1659"/>
                  </a:lnTo>
                  <a:lnTo>
                    <a:pt x="1451" y="1713"/>
                  </a:lnTo>
                  <a:lnTo>
                    <a:pt x="1404" y="1745"/>
                  </a:lnTo>
                  <a:lnTo>
                    <a:pt x="1404" y="1811"/>
                  </a:lnTo>
                  <a:lnTo>
                    <a:pt x="1366" y="1837"/>
                  </a:lnTo>
                  <a:lnTo>
                    <a:pt x="1290" y="1784"/>
                  </a:lnTo>
                  <a:lnTo>
                    <a:pt x="1237" y="1800"/>
                  </a:lnTo>
                  <a:lnTo>
                    <a:pt x="1144" y="1770"/>
                  </a:lnTo>
                  <a:lnTo>
                    <a:pt x="1126" y="1698"/>
                  </a:lnTo>
                  <a:lnTo>
                    <a:pt x="993" y="1593"/>
                  </a:lnTo>
                  <a:lnTo>
                    <a:pt x="873" y="1590"/>
                  </a:lnTo>
                  <a:lnTo>
                    <a:pt x="831" y="1555"/>
                  </a:lnTo>
                  <a:lnTo>
                    <a:pt x="727" y="1574"/>
                  </a:lnTo>
                  <a:lnTo>
                    <a:pt x="709" y="1536"/>
                  </a:lnTo>
                  <a:lnTo>
                    <a:pt x="643" y="1548"/>
                  </a:lnTo>
                  <a:lnTo>
                    <a:pt x="603" y="1506"/>
                  </a:lnTo>
                  <a:lnTo>
                    <a:pt x="519" y="1529"/>
                  </a:lnTo>
                  <a:lnTo>
                    <a:pt x="408" y="1430"/>
                  </a:lnTo>
                  <a:lnTo>
                    <a:pt x="328" y="1430"/>
                  </a:lnTo>
                  <a:lnTo>
                    <a:pt x="276" y="1386"/>
                  </a:lnTo>
                  <a:lnTo>
                    <a:pt x="132" y="1378"/>
                  </a:lnTo>
                  <a:lnTo>
                    <a:pt x="123" y="1286"/>
                  </a:lnTo>
                  <a:lnTo>
                    <a:pt x="78" y="1247"/>
                  </a:lnTo>
                  <a:lnTo>
                    <a:pt x="79" y="1184"/>
                  </a:lnTo>
                  <a:lnTo>
                    <a:pt x="0" y="1095"/>
                  </a:lnTo>
                  <a:lnTo>
                    <a:pt x="0" y="972"/>
                  </a:lnTo>
                  <a:lnTo>
                    <a:pt x="63" y="974"/>
                  </a:lnTo>
                  <a:lnTo>
                    <a:pt x="49" y="864"/>
                  </a:lnTo>
                  <a:lnTo>
                    <a:pt x="114" y="782"/>
                  </a:lnTo>
                  <a:lnTo>
                    <a:pt x="120" y="726"/>
                  </a:lnTo>
                  <a:lnTo>
                    <a:pt x="31" y="691"/>
                  </a:lnTo>
                  <a:lnTo>
                    <a:pt x="105" y="678"/>
                  </a:lnTo>
                  <a:lnTo>
                    <a:pt x="108" y="630"/>
                  </a:lnTo>
                  <a:lnTo>
                    <a:pt x="184" y="635"/>
                  </a:lnTo>
                  <a:lnTo>
                    <a:pt x="223" y="672"/>
                  </a:lnTo>
                  <a:lnTo>
                    <a:pt x="283" y="647"/>
                  </a:lnTo>
                  <a:lnTo>
                    <a:pt x="353" y="639"/>
                  </a:lnTo>
                  <a:lnTo>
                    <a:pt x="358" y="606"/>
                  </a:lnTo>
                  <a:lnTo>
                    <a:pt x="304" y="599"/>
                  </a:lnTo>
                  <a:lnTo>
                    <a:pt x="299" y="544"/>
                  </a:lnTo>
                  <a:lnTo>
                    <a:pt x="312" y="494"/>
                  </a:lnTo>
                  <a:lnTo>
                    <a:pt x="366" y="494"/>
                  </a:lnTo>
                  <a:lnTo>
                    <a:pt x="417" y="388"/>
                  </a:lnTo>
                  <a:lnTo>
                    <a:pt x="341" y="364"/>
                  </a:lnTo>
                  <a:lnTo>
                    <a:pt x="299" y="327"/>
                  </a:lnTo>
                  <a:lnTo>
                    <a:pt x="251" y="268"/>
                  </a:lnTo>
                  <a:lnTo>
                    <a:pt x="246" y="223"/>
                  </a:lnTo>
                  <a:lnTo>
                    <a:pt x="246" y="151"/>
                  </a:lnTo>
                  <a:lnTo>
                    <a:pt x="300" y="119"/>
                  </a:lnTo>
                  <a:lnTo>
                    <a:pt x="377" y="96"/>
                  </a:lnTo>
                  <a:lnTo>
                    <a:pt x="472" y="83"/>
                  </a:lnTo>
                  <a:lnTo>
                    <a:pt x="582" y="88"/>
                  </a:lnTo>
                  <a:lnTo>
                    <a:pt x="671" y="53"/>
                  </a:lnTo>
                  <a:lnTo>
                    <a:pt x="790" y="47"/>
                  </a:lnTo>
                  <a:lnTo>
                    <a:pt x="858" y="5"/>
                  </a:lnTo>
                  <a:lnTo>
                    <a:pt x="96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8" name="Freeform 106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4685" y="2349"/>
              <a:ext cx="148" cy="252"/>
            </a:xfrm>
            <a:custGeom>
              <a:avLst/>
              <a:gdLst>
                <a:gd name="T0" fmla="*/ 521 w 562"/>
                <a:gd name="T1" fmla="*/ 527 h 951"/>
                <a:gd name="T2" fmla="*/ 389 w 562"/>
                <a:gd name="T3" fmla="*/ 527 h 951"/>
                <a:gd name="T4" fmla="*/ 385 w 562"/>
                <a:gd name="T5" fmla="*/ 652 h 951"/>
                <a:gd name="T6" fmla="*/ 384 w 562"/>
                <a:gd name="T7" fmla="*/ 705 h 951"/>
                <a:gd name="T8" fmla="*/ 458 w 562"/>
                <a:gd name="T9" fmla="*/ 752 h 951"/>
                <a:gd name="T10" fmla="*/ 458 w 562"/>
                <a:gd name="T11" fmla="*/ 833 h 951"/>
                <a:gd name="T12" fmla="*/ 428 w 562"/>
                <a:gd name="T13" fmla="*/ 860 h 951"/>
                <a:gd name="T14" fmla="*/ 361 w 562"/>
                <a:gd name="T15" fmla="*/ 858 h 951"/>
                <a:gd name="T16" fmla="*/ 384 w 562"/>
                <a:gd name="T17" fmla="*/ 951 h 951"/>
                <a:gd name="T18" fmla="*/ 267 w 562"/>
                <a:gd name="T19" fmla="*/ 915 h 951"/>
                <a:gd name="T20" fmla="*/ 162 w 562"/>
                <a:gd name="T21" fmla="*/ 836 h 951"/>
                <a:gd name="T22" fmla="*/ 171 w 562"/>
                <a:gd name="T23" fmla="*/ 720 h 951"/>
                <a:gd name="T24" fmla="*/ 114 w 562"/>
                <a:gd name="T25" fmla="*/ 564 h 951"/>
                <a:gd name="T26" fmla="*/ 21 w 562"/>
                <a:gd name="T27" fmla="*/ 511 h 951"/>
                <a:gd name="T28" fmla="*/ 0 w 562"/>
                <a:gd name="T29" fmla="*/ 459 h 951"/>
                <a:gd name="T30" fmla="*/ 88 w 562"/>
                <a:gd name="T31" fmla="*/ 438 h 951"/>
                <a:gd name="T32" fmla="*/ 120 w 562"/>
                <a:gd name="T33" fmla="*/ 388 h 951"/>
                <a:gd name="T34" fmla="*/ 212 w 562"/>
                <a:gd name="T35" fmla="*/ 310 h 951"/>
                <a:gd name="T36" fmla="*/ 238 w 562"/>
                <a:gd name="T37" fmla="*/ 263 h 951"/>
                <a:gd name="T38" fmla="*/ 250 w 562"/>
                <a:gd name="T39" fmla="*/ 147 h 951"/>
                <a:gd name="T40" fmla="*/ 272 w 562"/>
                <a:gd name="T41" fmla="*/ 69 h 951"/>
                <a:gd name="T42" fmla="*/ 318 w 562"/>
                <a:gd name="T43" fmla="*/ 30 h 951"/>
                <a:gd name="T44" fmla="*/ 368 w 562"/>
                <a:gd name="T45" fmla="*/ 26 h 951"/>
                <a:gd name="T46" fmla="*/ 384 w 562"/>
                <a:gd name="T47" fmla="*/ 0 h 951"/>
                <a:gd name="T48" fmla="*/ 416 w 562"/>
                <a:gd name="T49" fmla="*/ 8 h 951"/>
                <a:gd name="T50" fmla="*/ 422 w 562"/>
                <a:gd name="T51" fmla="*/ 75 h 951"/>
                <a:gd name="T52" fmla="*/ 452 w 562"/>
                <a:gd name="T53" fmla="*/ 90 h 951"/>
                <a:gd name="T54" fmla="*/ 411 w 562"/>
                <a:gd name="T55" fmla="*/ 153 h 951"/>
                <a:gd name="T56" fmla="*/ 371 w 562"/>
                <a:gd name="T57" fmla="*/ 248 h 951"/>
                <a:gd name="T58" fmla="*/ 401 w 562"/>
                <a:gd name="T59" fmla="*/ 290 h 951"/>
                <a:gd name="T60" fmla="*/ 509 w 562"/>
                <a:gd name="T61" fmla="*/ 296 h 951"/>
                <a:gd name="T62" fmla="*/ 554 w 562"/>
                <a:gd name="T63" fmla="*/ 348 h 951"/>
                <a:gd name="T64" fmla="*/ 562 w 562"/>
                <a:gd name="T65" fmla="*/ 395 h 951"/>
                <a:gd name="T66" fmla="*/ 526 w 562"/>
                <a:gd name="T67" fmla="*/ 431 h 951"/>
                <a:gd name="T68" fmla="*/ 521 w 562"/>
                <a:gd name="T69" fmla="*/ 527 h 95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62"/>
                <a:gd name="T106" fmla="*/ 0 h 951"/>
                <a:gd name="T107" fmla="*/ 562 w 562"/>
                <a:gd name="T108" fmla="*/ 951 h 95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62" h="951">
                  <a:moveTo>
                    <a:pt x="521" y="527"/>
                  </a:moveTo>
                  <a:lnTo>
                    <a:pt x="389" y="527"/>
                  </a:lnTo>
                  <a:lnTo>
                    <a:pt x="385" y="652"/>
                  </a:lnTo>
                  <a:lnTo>
                    <a:pt x="384" y="705"/>
                  </a:lnTo>
                  <a:lnTo>
                    <a:pt x="458" y="752"/>
                  </a:lnTo>
                  <a:lnTo>
                    <a:pt x="458" y="833"/>
                  </a:lnTo>
                  <a:lnTo>
                    <a:pt x="428" y="860"/>
                  </a:lnTo>
                  <a:lnTo>
                    <a:pt x="361" y="858"/>
                  </a:lnTo>
                  <a:lnTo>
                    <a:pt x="384" y="951"/>
                  </a:lnTo>
                  <a:lnTo>
                    <a:pt x="267" y="915"/>
                  </a:lnTo>
                  <a:lnTo>
                    <a:pt x="162" y="836"/>
                  </a:lnTo>
                  <a:lnTo>
                    <a:pt x="171" y="720"/>
                  </a:lnTo>
                  <a:lnTo>
                    <a:pt x="114" y="564"/>
                  </a:lnTo>
                  <a:lnTo>
                    <a:pt x="21" y="511"/>
                  </a:lnTo>
                  <a:lnTo>
                    <a:pt x="0" y="459"/>
                  </a:lnTo>
                  <a:lnTo>
                    <a:pt x="88" y="438"/>
                  </a:lnTo>
                  <a:lnTo>
                    <a:pt x="120" y="388"/>
                  </a:lnTo>
                  <a:lnTo>
                    <a:pt x="212" y="310"/>
                  </a:lnTo>
                  <a:lnTo>
                    <a:pt x="238" y="263"/>
                  </a:lnTo>
                  <a:lnTo>
                    <a:pt x="250" y="147"/>
                  </a:lnTo>
                  <a:lnTo>
                    <a:pt x="272" y="69"/>
                  </a:lnTo>
                  <a:lnTo>
                    <a:pt x="318" y="30"/>
                  </a:lnTo>
                  <a:lnTo>
                    <a:pt x="368" y="26"/>
                  </a:lnTo>
                  <a:lnTo>
                    <a:pt x="384" y="0"/>
                  </a:lnTo>
                  <a:lnTo>
                    <a:pt x="416" y="8"/>
                  </a:lnTo>
                  <a:lnTo>
                    <a:pt x="422" y="75"/>
                  </a:lnTo>
                  <a:lnTo>
                    <a:pt x="452" y="90"/>
                  </a:lnTo>
                  <a:lnTo>
                    <a:pt x="411" y="153"/>
                  </a:lnTo>
                  <a:lnTo>
                    <a:pt x="371" y="248"/>
                  </a:lnTo>
                  <a:lnTo>
                    <a:pt x="401" y="290"/>
                  </a:lnTo>
                  <a:lnTo>
                    <a:pt x="509" y="296"/>
                  </a:lnTo>
                  <a:lnTo>
                    <a:pt x="554" y="348"/>
                  </a:lnTo>
                  <a:lnTo>
                    <a:pt x="562" y="395"/>
                  </a:lnTo>
                  <a:lnTo>
                    <a:pt x="526" y="431"/>
                  </a:lnTo>
                  <a:lnTo>
                    <a:pt x="521" y="527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29" name="Freeform 107"/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4311" y="2671"/>
              <a:ext cx="688" cy="506"/>
            </a:xfrm>
            <a:custGeom>
              <a:avLst/>
              <a:gdLst>
                <a:gd name="T0" fmla="*/ 329 w 2616"/>
                <a:gd name="T1" fmla="*/ 1370 h 1912"/>
                <a:gd name="T2" fmla="*/ 476 w 2616"/>
                <a:gd name="T3" fmla="*/ 1313 h 1912"/>
                <a:gd name="T4" fmla="*/ 513 w 2616"/>
                <a:gd name="T5" fmla="*/ 1435 h 1912"/>
                <a:gd name="T6" fmla="*/ 680 w 2616"/>
                <a:gd name="T7" fmla="*/ 1545 h 1912"/>
                <a:gd name="T8" fmla="*/ 818 w 2616"/>
                <a:gd name="T9" fmla="*/ 1775 h 1912"/>
                <a:gd name="T10" fmla="*/ 1028 w 2616"/>
                <a:gd name="T11" fmla="*/ 1838 h 1912"/>
                <a:gd name="T12" fmla="*/ 1121 w 2616"/>
                <a:gd name="T13" fmla="*/ 1808 h 1912"/>
                <a:gd name="T14" fmla="*/ 1124 w 2616"/>
                <a:gd name="T15" fmla="*/ 1604 h 1912"/>
                <a:gd name="T16" fmla="*/ 1308 w 2616"/>
                <a:gd name="T17" fmla="*/ 1397 h 1912"/>
                <a:gd name="T18" fmla="*/ 1425 w 2616"/>
                <a:gd name="T19" fmla="*/ 1468 h 1912"/>
                <a:gd name="T20" fmla="*/ 1623 w 2616"/>
                <a:gd name="T21" fmla="*/ 1469 h 1912"/>
                <a:gd name="T22" fmla="*/ 1746 w 2616"/>
                <a:gd name="T23" fmla="*/ 1523 h 1912"/>
                <a:gd name="T24" fmla="*/ 1750 w 2616"/>
                <a:gd name="T25" fmla="*/ 1401 h 1912"/>
                <a:gd name="T26" fmla="*/ 1775 w 2616"/>
                <a:gd name="T27" fmla="*/ 1279 h 1912"/>
                <a:gd name="T28" fmla="*/ 1921 w 2616"/>
                <a:gd name="T29" fmla="*/ 1324 h 1912"/>
                <a:gd name="T30" fmla="*/ 2044 w 2616"/>
                <a:gd name="T31" fmla="*/ 1236 h 1912"/>
                <a:gd name="T32" fmla="*/ 2124 w 2616"/>
                <a:gd name="T33" fmla="*/ 1150 h 1912"/>
                <a:gd name="T34" fmla="*/ 2249 w 2616"/>
                <a:gd name="T35" fmla="*/ 1164 h 1912"/>
                <a:gd name="T36" fmla="*/ 2359 w 2616"/>
                <a:gd name="T37" fmla="*/ 1364 h 1912"/>
                <a:gd name="T38" fmla="*/ 2435 w 2616"/>
                <a:gd name="T39" fmla="*/ 1135 h 1912"/>
                <a:gd name="T40" fmla="*/ 2271 w 2616"/>
                <a:gd name="T41" fmla="*/ 868 h 1912"/>
                <a:gd name="T42" fmla="*/ 2363 w 2616"/>
                <a:gd name="T43" fmla="*/ 788 h 1912"/>
                <a:gd name="T44" fmla="*/ 2543 w 2616"/>
                <a:gd name="T45" fmla="*/ 717 h 1912"/>
                <a:gd name="T46" fmla="*/ 2596 w 2616"/>
                <a:gd name="T47" fmla="*/ 576 h 1912"/>
                <a:gd name="T48" fmla="*/ 2471 w 2616"/>
                <a:gd name="T49" fmla="*/ 502 h 1912"/>
                <a:gd name="T50" fmla="*/ 2291 w 2616"/>
                <a:gd name="T51" fmla="*/ 466 h 1912"/>
                <a:gd name="T52" fmla="*/ 2046 w 2616"/>
                <a:gd name="T53" fmla="*/ 386 h 1912"/>
                <a:gd name="T54" fmla="*/ 1842 w 2616"/>
                <a:gd name="T55" fmla="*/ 334 h 1912"/>
                <a:gd name="T56" fmla="*/ 1673 w 2616"/>
                <a:gd name="T57" fmla="*/ 299 h 1912"/>
                <a:gd name="T58" fmla="*/ 1538 w 2616"/>
                <a:gd name="T59" fmla="*/ 383 h 1912"/>
                <a:gd name="T60" fmla="*/ 1406 w 2616"/>
                <a:gd name="T61" fmla="*/ 329 h 1912"/>
                <a:gd name="T62" fmla="*/ 1305 w 2616"/>
                <a:gd name="T63" fmla="*/ 220 h 1912"/>
                <a:gd name="T64" fmla="*/ 1155 w 2616"/>
                <a:gd name="T65" fmla="*/ 96 h 1912"/>
                <a:gd name="T66" fmla="*/ 1059 w 2616"/>
                <a:gd name="T67" fmla="*/ 45 h 1912"/>
                <a:gd name="T68" fmla="*/ 986 w 2616"/>
                <a:gd name="T69" fmla="*/ 133 h 1912"/>
                <a:gd name="T70" fmla="*/ 986 w 2616"/>
                <a:gd name="T71" fmla="*/ 251 h 1912"/>
                <a:gd name="T72" fmla="*/ 734 w 2616"/>
                <a:gd name="T73" fmla="*/ 263 h 1912"/>
                <a:gd name="T74" fmla="*/ 494 w 2616"/>
                <a:gd name="T75" fmla="*/ 221 h 1912"/>
                <a:gd name="T76" fmla="*/ 194 w 2616"/>
                <a:gd name="T77" fmla="*/ 187 h 1912"/>
                <a:gd name="T78" fmla="*/ 35 w 2616"/>
                <a:gd name="T79" fmla="*/ 275 h 1912"/>
                <a:gd name="T80" fmla="*/ 147 w 2616"/>
                <a:gd name="T81" fmla="*/ 388 h 1912"/>
                <a:gd name="T82" fmla="*/ 206 w 2616"/>
                <a:gd name="T83" fmla="*/ 561 h 1912"/>
                <a:gd name="T84" fmla="*/ 245 w 2616"/>
                <a:gd name="T85" fmla="*/ 729 h 1912"/>
                <a:gd name="T86" fmla="*/ 324 w 2616"/>
                <a:gd name="T87" fmla="*/ 899 h 191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16"/>
                <a:gd name="T133" fmla="*/ 0 h 1912"/>
                <a:gd name="T134" fmla="*/ 2616 w 2616"/>
                <a:gd name="T135" fmla="*/ 1912 h 191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16" h="1912">
                  <a:moveTo>
                    <a:pt x="309" y="1129"/>
                  </a:moveTo>
                  <a:lnTo>
                    <a:pt x="312" y="1285"/>
                  </a:lnTo>
                  <a:lnTo>
                    <a:pt x="329" y="1370"/>
                  </a:lnTo>
                  <a:lnTo>
                    <a:pt x="371" y="1404"/>
                  </a:lnTo>
                  <a:lnTo>
                    <a:pt x="432" y="1376"/>
                  </a:lnTo>
                  <a:lnTo>
                    <a:pt x="476" y="1313"/>
                  </a:lnTo>
                  <a:lnTo>
                    <a:pt x="539" y="1343"/>
                  </a:lnTo>
                  <a:lnTo>
                    <a:pt x="512" y="1382"/>
                  </a:lnTo>
                  <a:lnTo>
                    <a:pt x="513" y="1435"/>
                  </a:lnTo>
                  <a:lnTo>
                    <a:pt x="548" y="1481"/>
                  </a:lnTo>
                  <a:lnTo>
                    <a:pt x="636" y="1475"/>
                  </a:lnTo>
                  <a:lnTo>
                    <a:pt x="680" y="1545"/>
                  </a:lnTo>
                  <a:lnTo>
                    <a:pt x="753" y="1623"/>
                  </a:lnTo>
                  <a:lnTo>
                    <a:pt x="764" y="1722"/>
                  </a:lnTo>
                  <a:lnTo>
                    <a:pt x="818" y="1775"/>
                  </a:lnTo>
                  <a:lnTo>
                    <a:pt x="849" y="1903"/>
                  </a:lnTo>
                  <a:lnTo>
                    <a:pt x="953" y="1912"/>
                  </a:lnTo>
                  <a:lnTo>
                    <a:pt x="1028" y="1838"/>
                  </a:lnTo>
                  <a:lnTo>
                    <a:pt x="1051" y="1869"/>
                  </a:lnTo>
                  <a:lnTo>
                    <a:pt x="1119" y="1867"/>
                  </a:lnTo>
                  <a:lnTo>
                    <a:pt x="1121" y="1808"/>
                  </a:lnTo>
                  <a:lnTo>
                    <a:pt x="1152" y="1764"/>
                  </a:lnTo>
                  <a:lnTo>
                    <a:pt x="1103" y="1693"/>
                  </a:lnTo>
                  <a:lnTo>
                    <a:pt x="1124" y="1604"/>
                  </a:lnTo>
                  <a:lnTo>
                    <a:pt x="1245" y="1499"/>
                  </a:lnTo>
                  <a:lnTo>
                    <a:pt x="1230" y="1414"/>
                  </a:lnTo>
                  <a:lnTo>
                    <a:pt x="1308" y="1397"/>
                  </a:lnTo>
                  <a:lnTo>
                    <a:pt x="1317" y="1317"/>
                  </a:lnTo>
                  <a:lnTo>
                    <a:pt x="1409" y="1313"/>
                  </a:lnTo>
                  <a:lnTo>
                    <a:pt x="1425" y="1468"/>
                  </a:lnTo>
                  <a:lnTo>
                    <a:pt x="1533" y="1477"/>
                  </a:lnTo>
                  <a:lnTo>
                    <a:pt x="1574" y="1434"/>
                  </a:lnTo>
                  <a:lnTo>
                    <a:pt x="1623" y="1469"/>
                  </a:lnTo>
                  <a:lnTo>
                    <a:pt x="1632" y="1517"/>
                  </a:lnTo>
                  <a:lnTo>
                    <a:pt x="1677" y="1508"/>
                  </a:lnTo>
                  <a:lnTo>
                    <a:pt x="1746" y="1523"/>
                  </a:lnTo>
                  <a:lnTo>
                    <a:pt x="1844" y="1489"/>
                  </a:lnTo>
                  <a:lnTo>
                    <a:pt x="1811" y="1413"/>
                  </a:lnTo>
                  <a:lnTo>
                    <a:pt x="1750" y="1401"/>
                  </a:lnTo>
                  <a:lnTo>
                    <a:pt x="1710" y="1377"/>
                  </a:lnTo>
                  <a:lnTo>
                    <a:pt x="1707" y="1329"/>
                  </a:lnTo>
                  <a:lnTo>
                    <a:pt x="1775" y="1279"/>
                  </a:lnTo>
                  <a:lnTo>
                    <a:pt x="1811" y="1312"/>
                  </a:lnTo>
                  <a:lnTo>
                    <a:pt x="1872" y="1297"/>
                  </a:lnTo>
                  <a:lnTo>
                    <a:pt x="1921" y="1324"/>
                  </a:lnTo>
                  <a:lnTo>
                    <a:pt x="1947" y="1305"/>
                  </a:lnTo>
                  <a:lnTo>
                    <a:pt x="1955" y="1236"/>
                  </a:lnTo>
                  <a:lnTo>
                    <a:pt x="2044" y="1236"/>
                  </a:lnTo>
                  <a:lnTo>
                    <a:pt x="2077" y="1211"/>
                  </a:lnTo>
                  <a:lnTo>
                    <a:pt x="2074" y="1150"/>
                  </a:lnTo>
                  <a:lnTo>
                    <a:pt x="2124" y="1150"/>
                  </a:lnTo>
                  <a:lnTo>
                    <a:pt x="2161" y="1192"/>
                  </a:lnTo>
                  <a:lnTo>
                    <a:pt x="2197" y="1162"/>
                  </a:lnTo>
                  <a:lnTo>
                    <a:pt x="2249" y="1164"/>
                  </a:lnTo>
                  <a:lnTo>
                    <a:pt x="2254" y="1260"/>
                  </a:lnTo>
                  <a:lnTo>
                    <a:pt x="2319" y="1268"/>
                  </a:lnTo>
                  <a:lnTo>
                    <a:pt x="2359" y="1364"/>
                  </a:lnTo>
                  <a:lnTo>
                    <a:pt x="2443" y="1343"/>
                  </a:lnTo>
                  <a:lnTo>
                    <a:pt x="2448" y="1244"/>
                  </a:lnTo>
                  <a:lnTo>
                    <a:pt x="2435" y="1135"/>
                  </a:lnTo>
                  <a:lnTo>
                    <a:pt x="2357" y="1034"/>
                  </a:lnTo>
                  <a:lnTo>
                    <a:pt x="2298" y="999"/>
                  </a:lnTo>
                  <a:lnTo>
                    <a:pt x="2271" y="868"/>
                  </a:lnTo>
                  <a:lnTo>
                    <a:pt x="2283" y="813"/>
                  </a:lnTo>
                  <a:lnTo>
                    <a:pt x="2341" y="821"/>
                  </a:lnTo>
                  <a:lnTo>
                    <a:pt x="2363" y="788"/>
                  </a:lnTo>
                  <a:lnTo>
                    <a:pt x="2438" y="818"/>
                  </a:lnTo>
                  <a:lnTo>
                    <a:pt x="2482" y="764"/>
                  </a:lnTo>
                  <a:lnTo>
                    <a:pt x="2543" y="717"/>
                  </a:lnTo>
                  <a:lnTo>
                    <a:pt x="2597" y="715"/>
                  </a:lnTo>
                  <a:lnTo>
                    <a:pt x="2616" y="649"/>
                  </a:lnTo>
                  <a:lnTo>
                    <a:pt x="2596" y="576"/>
                  </a:lnTo>
                  <a:lnTo>
                    <a:pt x="2548" y="551"/>
                  </a:lnTo>
                  <a:lnTo>
                    <a:pt x="2543" y="494"/>
                  </a:lnTo>
                  <a:lnTo>
                    <a:pt x="2471" y="502"/>
                  </a:lnTo>
                  <a:lnTo>
                    <a:pt x="2395" y="527"/>
                  </a:lnTo>
                  <a:lnTo>
                    <a:pt x="2369" y="454"/>
                  </a:lnTo>
                  <a:lnTo>
                    <a:pt x="2291" y="466"/>
                  </a:lnTo>
                  <a:lnTo>
                    <a:pt x="2246" y="422"/>
                  </a:lnTo>
                  <a:lnTo>
                    <a:pt x="2088" y="428"/>
                  </a:lnTo>
                  <a:lnTo>
                    <a:pt x="2046" y="386"/>
                  </a:lnTo>
                  <a:lnTo>
                    <a:pt x="1967" y="386"/>
                  </a:lnTo>
                  <a:lnTo>
                    <a:pt x="1933" y="325"/>
                  </a:lnTo>
                  <a:lnTo>
                    <a:pt x="1842" y="334"/>
                  </a:lnTo>
                  <a:lnTo>
                    <a:pt x="1780" y="374"/>
                  </a:lnTo>
                  <a:lnTo>
                    <a:pt x="1740" y="313"/>
                  </a:lnTo>
                  <a:lnTo>
                    <a:pt x="1673" y="299"/>
                  </a:lnTo>
                  <a:lnTo>
                    <a:pt x="1617" y="307"/>
                  </a:lnTo>
                  <a:lnTo>
                    <a:pt x="1605" y="383"/>
                  </a:lnTo>
                  <a:lnTo>
                    <a:pt x="1538" y="383"/>
                  </a:lnTo>
                  <a:lnTo>
                    <a:pt x="1525" y="355"/>
                  </a:lnTo>
                  <a:lnTo>
                    <a:pt x="1446" y="367"/>
                  </a:lnTo>
                  <a:lnTo>
                    <a:pt x="1406" y="329"/>
                  </a:lnTo>
                  <a:lnTo>
                    <a:pt x="1401" y="267"/>
                  </a:lnTo>
                  <a:lnTo>
                    <a:pt x="1383" y="196"/>
                  </a:lnTo>
                  <a:lnTo>
                    <a:pt x="1305" y="220"/>
                  </a:lnTo>
                  <a:lnTo>
                    <a:pt x="1261" y="200"/>
                  </a:lnTo>
                  <a:lnTo>
                    <a:pt x="1218" y="116"/>
                  </a:lnTo>
                  <a:lnTo>
                    <a:pt x="1155" y="96"/>
                  </a:lnTo>
                  <a:lnTo>
                    <a:pt x="1146" y="0"/>
                  </a:lnTo>
                  <a:lnTo>
                    <a:pt x="1075" y="4"/>
                  </a:lnTo>
                  <a:lnTo>
                    <a:pt x="1059" y="45"/>
                  </a:lnTo>
                  <a:lnTo>
                    <a:pt x="1023" y="24"/>
                  </a:lnTo>
                  <a:lnTo>
                    <a:pt x="978" y="48"/>
                  </a:lnTo>
                  <a:lnTo>
                    <a:pt x="986" y="133"/>
                  </a:lnTo>
                  <a:lnTo>
                    <a:pt x="1027" y="172"/>
                  </a:lnTo>
                  <a:lnTo>
                    <a:pt x="994" y="208"/>
                  </a:lnTo>
                  <a:lnTo>
                    <a:pt x="986" y="251"/>
                  </a:lnTo>
                  <a:lnTo>
                    <a:pt x="881" y="263"/>
                  </a:lnTo>
                  <a:lnTo>
                    <a:pt x="807" y="214"/>
                  </a:lnTo>
                  <a:lnTo>
                    <a:pt x="734" y="263"/>
                  </a:lnTo>
                  <a:lnTo>
                    <a:pt x="689" y="359"/>
                  </a:lnTo>
                  <a:lnTo>
                    <a:pt x="628" y="371"/>
                  </a:lnTo>
                  <a:lnTo>
                    <a:pt x="494" y="221"/>
                  </a:lnTo>
                  <a:lnTo>
                    <a:pt x="402" y="230"/>
                  </a:lnTo>
                  <a:lnTo>
                    <a:pt x="298" y="189"/>
                  </a:lnTo>
                  <a:lnTo>
                    <a:pt x="194" y="187"/>
                  </a:lnTo>
                  <a:lnTo>
                    <a:pt x="80" y="189"/>
                  </a:lnTo>
                  <a:lnTo>
                    <a:pt x="37" y="225"/>
                  </a:lnTo>
                  <a:lnTo>
                    <a:pt x="35" y="275"/>
                  </a:lnTo>
                  <a:lnTo>
                    <a:pt x="0" y="303"/>
                  </a:lnTo>
                  <a:lnTo>
                    <a:pt x="71" y="380"/>
                  </a:lnTo>
                  <a:lnTo>
                    <a:pt x="147" y="388"/>
                  </a:lnTo>
                  <a:lnTo>
                    <a:pt x="179" y="479"/>
                  </a:lnTo>
                  <a:lnTo>
                    <a:pt x="227" y="502"/>
                  </a:lnTo>
                  <a:lnTo>
                    <a:pt x="206" y="561"/>
                  </a:lnTo>
                  <a:lnTo>
                    <a:pt x="298" y="656"/>
                  </a:lnTo>
                  <a:lnTo>
                    <a:pt x="239" y="676"/>
                  </a:lnTo>
                  <a:lnTo>
                    <a:pt x="245" y="729"/>
                  </a:lnTo>
                  <a:lnTo>
                    <a:pt x="294" y="776"/>
                  </a:lnTo>
                  <a:lnTo>
                    <a:pt x="286" y="925"/>
                  </a:lnTo>
                  <a:lnTo>
                    <a:pt x="324" y="899"/>
                  </a:lnTo>
                  <a:lnTo>
                    <a:pt x="318" y="1058"/>
                  </a:lnTo>
                  <a:lnTo>
                    <a:pt x="309" y="112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30" name="Freeform 108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4765" y="2783"/>
              <a:ext cx="234" cy="249"/>
            </a:xfrm>
            <a:custGeom>
              <a:avLst/>
              <a:gdLst>
                <a:gd name="T0" fmla="*/ 144 w 889"/>
                <a:gd name="T1" fmla="*/ 873 h 942"/>
                <a:gd name="T2" fmla="*/ 193 w 889"/>
                <a:gd name="T3" fmla="*/ 902 h 942"/>
                <a:gd name="T4" fmla="*/ 220 w 889"/>
                <a:gd name="T5" fmla="*/ 884 h 942"/>
                <a:gd name="T6" fmla="*/ 228 w 889"/>
                <a:gd name="T7" fmla="*/ 815 h 942"/>
                <a:gd name="T8" fmla="*/ 318 w 889"/>
                <a:gd name="T9" fmla="*/ 815 h 942"/>
                <a:gd name="T10" fmla="*/ 350 w 889"/>
                <a:gd name="T11" fmla="*/ 789 h 942"/>
                <a:gd name="T12" fmla="*/ 347 w 889"/>
                <a:gd name="T13" fmla="*/ 728 h 942"/>
                <a:gd name="T14" fmla="*/ 397 w 889"/>
                <a:gd name="T15" fmla="*/ 728 h 942"/>
                <a:gd name="T16" fmla="*/ 434 w 889"/>
                <a:gd name="T17" fmla="*/ 770 h 942"/>
                <a:gd name="T18" fmla="*/ 470 w 889"/>
                <a:gd name="T19" fmla="*/ 740 h 942"/>
                <a:gd name="T20" fmla="*/ 522 w 889"/>
                <a:gd name="T21" fmla="*/ 743 h 942"/>
                <a:gd name="T22" fmla="*/ 527 w 889"/>
                <a:gd name="T23" fmla="*/ 838 h 942"/>
                <a:gd name="T24" fmla="*/ 592 w 889"/>
                <a:gd name="T25" fmla="*/ 846 h 942"/>
                <a:gd name="T26" fmla="*/ 632 w 889"/>
                <a:gd name="T27" fmla="*/ 942 h 942"/>
                <a:gd name="T28" fmla="*/ 716 w 889"/>
                <a:gd name="T29" fmla="*/ 921 h 942"/>
                <a:gd name="T30" fmla="*/ 721 w 889"/>
                <a:gd name="T31" fmla="*/ 821 h 942"/>
                <a:gd name="T32" fmla="*/ 708 w 889"/>
                <a:gd name="T33" fmla="*/ 713 h 942"/>
                <a:gd name="T34" fmla="*/ 631 w 889"/>
                <a:gd name="T35" fmla="*/ 614 h 942"/>
                <a:gd name="T36" fmla="*/ 571 w 889"/>
                <a:gd name="T37" fmla="*/ 578 h 942"/>
                <a:gd name="T38" fmla="*/ 544 w 889"/>
                <a:gd name="T39" fmla="*/ 446 h 942"/>
                <a:gd name="T40" fmla="*/ 556 w 889"/>
                <a:gd name="T41" fmla="*/ 392 h 942"/>
                <a:gd name="T42" fmla="*/ 615 w 889"/>
                <a:gd name="T43" fmla="*/ 399 h 942"/>
                <a:gd name="T44" fmla="*/ 636 w 889"/>
                <a:gd name="T45" fmla="*/ 366 h 942"/>
                <a:gd name="T46" fmla="*/ 711 w 889"/>
                <a:gd name="T47" fmla="*/ 396 h 942"/>
                <a:gd name="T48" fmla="*/ 756 w 889"/>
                <a:gd name="T49" fmla="*/ 342 h 942"/>
                <a:gd name="T50" fmla="*/ 816 w 889"/>
                <a:gd name="T51" fmla="*/ 296 h 942"/>
                <a:gd name="T52" fmla="*/ 870 w 889"/>
                <a:gd name="T53" fmla="*/ 293 h 942"/>
                <a:gd name="T54" fmla="*/ 889 w 889"/>
                <a:gd name="T55" fmla="*/ 226 h 942"/>
                <a:gd name="T56" fmla="*/ 870 w 889"/>
                <a:gd name="T57" fmla="*/ 155 h 942"/>
                <a:gd name="T58" fmla="*/ 821 w 889"/>
                <a:gd name="T59" fmla="*/ 129 h 942"/>
                <a:gd name="T60" fmla="*/ 816 w 889"/>
                <a:gd name="T61" fmla="*/ 72 h 942"/>
                <a:gd name="T62" fmla="*/ 744 w 889"/>
                <a:gd name="T63" fmla="*/ 80 h 942"/>
                <a:gd name="T64" fmla="*/ 668 w 889"/>
                <a:gd name="T65" fmla="*/ 105 h 942"/>
                <a:gd name="T66" fmla="*/ 642 w 889"/>
                <a:gd name="T67" fmla="*/ 32 h 942"/>
                <a:gd name="T68" fmla="*/ 564 w 889"/>
                <a:gd name="T69" fmla="*/ 44 h 942"/>
                <a:gd name="T70" fmla="*/ 519 w 889"/>
                <a:gd name="T71" fmla="*/ 0 h 942"/>
                <a:gd name="T72" fmla="*/ 361 w 889"/>
                <a:gd name="T73" fmla="*/ 6 h 942"/>
                <a:gd name="T74" fmla="*/ 409 w 889"/>
                <a:gd name="T75" fmla="*/ 77 h 942"/>
                <a:gd name="T76" fmla="*/ 313 w 889"/>
                <a:gd name="T77" fmla="*/ 157 h 942"/>
                <a:gd name="T78" fmla="*/ 262 w 889"/>
                <a:gd name="T79" fmla="*/ 245 h 942"/>
                <a:gd name="T80" fmla="*/ 275 w 889"/>
                <a:gd name="T81" fmla="*/ 423 h 942"/>
                <a:gd name="T82" fmla="*/ 226 w 889"/>
                <a:gd name="T83" fmla="*/ 458 h 942"/>
                <a:gd name="T84" fmla="*/ 65 w 889"/>
                <a:gd name="T85" fmla="*/ 460 h 942"/>
                <a:gd name="T86" fmla="*/ 7 w 889"/>
                <a:gd name="T87" fmla="*/ 420 h 942"/>
                <a:gd name="T88" fmla="*/ 0 w 889"/>
                <a:gd name="T89" fmla="*/ 544 h 942"/>
                <a:gd name="T90" fmla="*/ 24 w 889"/>
                <a:gd name="T91" fmla="*/ 649 h 942"/>
                <a:gd name="T92" fmla="*/ 73 w 889"/>
                <a:gd name="T93" fmla="*/ 697 h 942"/>
                <a:gd name="T94" fmla="*/ 129 w 889"/>
                <a:gd name="T95" fmla="*/ 721 h 942"/>
                <a:gd name="T96" fmla="*/ 129 w 889"/>
                <a:gd name="T97" fmla="*/ 804 h 942"/>
                <a:gd name="T98" fmla="*/ 144 w 889"/>
                <a:gd name="T99" fmla="*/ 873 h 94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89"/>
                <a:gd name="T151" fmla="*/ 0 h 942"/>
                <a:gd name="T152" fmla="*/ 889 w 889"/>
                <a:gd name="T153" fmla="*/ 942 h 94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89" h="942">
                  <a:moveTo>
                    <a:pt x="144" y="873"/>
                  </a:moveTo>
                  <a:lnTo>
                    <a:pt x="193" y="902"/>
                  </a:lnTo>
                  <a:lnTo>
                    <a:pt x="220" y="884"/>
                  </a:lnTo>
                  <a:lnTo>
                    <a:pt x="228" y="815"/>
                  </a:lnTo>
                  <a:lnTo>
                    <a:pt x="318" y="815"/>
                  </a:lnTo>
                  <a:lnTo>
                    <a:pt x="350" y="789"/>
                  </a:lnTo>
                  <a:lnTo>
                    <a:pt x="347" y="728"/>
                  </a:lnTo>
                  <a:lnTo>
                    <a:pt x="397" y="728"/>
                  </a:lnTo>
                  <a:lnTo>
                    <a:pt x="434" y="770"/>
                  </a:lnTo>
                  <a:lnTo>
                    <a:pt x="470" y="740"/>
                  </a:lnTo>
                  <a:lnTo>
                    <a:pt x="522" y="743"/>
                  </a:lnTo>
                  <a:lnTo>
                    <a:pt x="527" y="838"/>
                  </a:lnTo>
                  <a:lnTo>
                    <a:pt x="592" y="846"/>
                  </a:lnTo>
                  <a:lnTo>
                    <a:pt x="632" y="942"/>
                  </a:lnTo>
                  <a:lnTo>
                    <a:pt x="716" y="921"/>
                  </a:lnTo>
                  <a:lnTo>
                    <a:pt x="721" y="821"/>
                  </a:lnTo>
                  <a:lnTo>
                    <a:pt x="708" y="713"/>
                  </a:lnTo>
                  <a:lnTo>
                    <a:pt x="631" y="614"/>
                  </a:lnTo>
                  <a:lnTo>
                    <a:pt x="571" y="578"/>
                  </a:lnTo>
                  <a:lnTo>
                    <a:pt x="544" y="446"/>
                  </a:lnTo>
                  <a:lnTo>
                    <a:pt x="556" y="392"/>
                  </a:lnTo>
                  <a:lnTo>
                    <a:pt x="615" y="399"/>
                  </a:lnTo>
                  <a:lnTo>
                    <a:pt x="636" y="366"/>
                  </a:lnTo>
                  <a:lnTo>
                    <a:pt x="711" y="396"/>
                  </a:lnTo>
                  <a:lnTo>
                    <a:pt x="756" y="342"/>
                  </a:lnTo>
                  <a:lnTo>
                    <a:pt x="816" y="296"/>
                  </a:lnTo>
                  <a:lnTo>
                    <a:pt x="870" y="293"/>
                  </a:lnTo>
                  <a:lnTo>
                    <a:pt x="889" y="226"/>
                  </a:lnTo>
                  <a:lnTo>
                    <a:pt x="870" y="155"/>
                  </a:lnTo>
                  <a:lnTo>
                    <a:pt x="821" y="129"/>
                  </a:lnTo>
                  <a:lnTo>
                    <a:pt x="816" y="72"/>
                  </a:lnTo>
                  <a:lnTo>
                    <a:pt x="744" y="80"/>
                  </a:lnTo>
                  <a:lnTo>
                    <a:pt x="668" y="105"/>
                  </a:lnTo>
                  <a:lnTo>
                    <a:pt x="642" y="32"/>
                  </a:lnTo>
                  <a:lnTo>
                    <a:pt x="564" y="44"/>
                  </a:lnTo>
                  <a:lnTo>
                    <a:pt x="519" y="0"/>
                  </a:lnTo>
                  <a:lnTo>
                    <a:pt x="361" y="6"/>
                  </a:lnTo>
                  <a:lnTo>
                    <a:pt x="409" y="77"/>
                  </a:lnTo>
                  <a:lnTo>
                    <a:pt x="313" y="157"/>
                  </a:lnTo>
                  <a:lnTo>
                    <a:pt x="262" y="245"/>
                  </a:lnTo>
                  <a:lnTo>
                    <a:pt x="275" y="423"/>
                  </a:lnTo>
                  <a:lnTo>
                    <a:pt x="226" y="458"/>
                  </a:lnTo>
                  <a:lnTo>
                    <a:pt x="65" y="460"/>
                  </a:lnTo>
                  <a:lnTo>
                    <a:pt x="7" y="420"/>
                  </a:lnTo>
                  <a:lnTo>
                    <a:pt x="0" y="544"/>
                  </a:lnTo>
                  <a:lnTo>
                    <a:pt x="24" y="649"/>
                  </a:lnTo>
                  <a:lnTo>
                    <a:pt x="73" y="697"/>
                  </a:lnTo>
                  <a:lnTo>
                    <a:pt x="129" y="721"/>
                  </a:lnTo>
                  <a:lnTo>
                    <a:pt x="129" y="804"/>
                  </a:lnTo>
                  <a:lnTo>
                    <a:pt x="144" y="87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31" name="Freeform 109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4750" y="2331"/>
              <a:ext cx="278" cy="480"/>
            </a:xfrm>
            <a:custGeom>
              <a:avLst/>
              <a:gdLst>
                <a:gd name="T0" fmla="*/ 261 w 1061"/>
                <a:gd name="T1" fmla="*/ 1609 h 1811"/>
                <a:gd name="T2" fmla="*/ 109 w 1061"/>
                <a:gd name="T3" fmla="*/ 1658 h 1811"/>
                <a:gd name="T4" fmla="*/ 0 w 1061"/>
                <a:gd name="T5" fmla="*/ 1583 h 1811"/>
                <a:gd name="T6" fmla="*/ 43 w 1061"/>
                <a:gd name="T7" fmla="*/ 1489 h 1811"/>
                <a:gd name="T8" fmla="*/ 47 w 1061"/>
                <a:gd name="T9" fmla="*/ 1416 h 1811"/>
                <a:gd name="T10" fmla="*/ 134 w 1061"/>
                <a:gd name="T11" fmla="*/ 1292 h 1811"/>
                <a:gd name="T12" fmla="*/ 104 w 1061"/>
                <a:gd name="T13" fmla="*/ 1204 h 1811"/>
                <a:gd name="T14" fmla="*/ 136 w 1061"/>
                <a:gd name="T15" fmla="*/ 1069 h 1811"/>
                <a:gd name="T16" fmla="*/ 256 w 1061"/>
                <a:gd name="T17" fmla="*/ 1099 h 1811"/>
                <a:gd name="T18" fmla="*/ 385 w 1061"/>
                <a:gd name="T19" fmla="*/ 1019 h 1811"/>
                <a:gd name="T20" fmla="*/ 478 w 1061"/>
                <a:gd name="T21" fmla="*/ 999 h 1811"/>
                <a:gd name="T22" fmla="*/ 550 w 1061"/>
                <a:gd name="T23" fmla="*/ 943 h 1811"/>
                <a:gd name="T24" fmla="*/ 519 w 1061"/>
                <a:gd name="T25" fmla="*/ 858 h 1811"/>
                <a:gd name="T26" fmla="*/ 543 w 1061"/>
                <a:gd name="T27" fmla="*/ 756 h 1811"/>
                <a:gd name="T28" fmla="*/ 410 w 1061"/>
                <a:gd name="T29" fmla="*/ 706 h 1811"/>
                <a:gd name="T30" fmla="*/ 292 w 1061"/>
                <a:gd name="T31" fmla="*/ 644 h 1811"/>
                <a:gd name="T32" fmla="*/ 276 w 1061"/>
                <a:gd name="T33" fmla="*/ 499 h 1811"/>
                <a:gd name="T34" fmla="*/ 339 w 1061"/>
                <a:gd name="T35" fmla="*/ 467 h 1811"/>
                <a:gd name="T36" fmla="*/ 427 w 1061"/>
                <a:gd name="T37" fmla="*/ 430 h 1811"/>
                <a:gd name="T38" fmla="*/ 520 w 1061"/>
                <a:gd name="T39" fmla="*/ 454 h 1811"/>
                <a:gd name="T40" fmla="*/ 587 w 1061"/>
                <a:gd name="T41" fmla="*/ 347 h 1811"/>
                <a:gd name="T42" fmla="*/ 644 w 1061"/>
                <a:gd name="T43" fmla="*/ 236 h 1811"/>
                <a:gd name="T44" fmla="*/ 734 w 1061"/>
                <a:gd name="T45" fmla="*/ 197 h 1811"/>
                <a:gd name="T46" fmla="*/ 791 w 1061"/>
                <a:gd name="T47" fmla="*/ 88 h 1811"/>
                <a:gd name="T48" fmla="*/ 820 w 1061"/>
                <a:gd name="T49" fmla="*/ 40 h 1811"/>
                <a:gd name="T50" fmla="*/ 932 w 1061"/>
                <a:gd name="T51" fmla="*/ 0 h 1811"/>
                <a:gd name="T52" fmla="*/ 962 w 1061"/>
                <a:gd name="T53" fmla="*/ 86 h 1811"/>
                <a:gd name="T54" fmla="*/ 920 w 1061"/>
                <a:gd name="T55" fmla="*/ 241 h 1811"/>
                <a:gd name="T56" fmla="*/ 869 w 1061"/>
                <a:gd name="T57" fmla="*/ 358 h 1811"/>
                <a:gd name="T58" fmla="*/ 899 w 1061"/>
                <a:gd name="T59" fmla="*/ 532 h 1811"/>
                <a:gd name="T60" fmla="*/ 883 w 1061"/>
                <a:gd name="T61" fmla="*/ 731 h 1811"/>
                <a:gd name="T62" fmla="*/ 914 w 1061"/>
                <a:gd name="T63" fmla="*/ 848 h 1811"/>
                <a:gd name="T64" fmla="*/ 871 w 1061"/>
                <a:gd name="T65" fmla="*/ 1034 h 1811"/>
                <a:gd name="T66" fmla="*/ 893 w 1061"/>
                <a:gd name="T67" fmla="*/ 1142 h 1811"/>
                <a:gd name="T68" fmla="*/ 1018 w 1061"/>
                <a:gd name="T69" fmla="*/ 1355 h 1811"/>
                <a:gd name="T70" fmla="*/ 1061 w 1061"/>
                <a:gd name="T71" fmla="*/ 1456 h 1811"/>
                <a:gd name="T72" fmla="*/ 771 w 1061"/>
                <a:gd name="T73" fmla="*/ 1465 h 1811"/>
                <a:gd name="T74" fmla="*/ 821 w 1061"/>
                <a:gd name="T75" fmla="*/ 1599 h 1811"/>
                <a:gd name="T76" fmla="*/ 797 w 1061"/>
                <a:gd name="T77" fmla="*/ 1786 h 1811"/>
                <a:gd name="T78" fmla="*/ 697 w 1061"/>
                <a:gd name="T79" fmla="*/ 1738 h 1811"/>
                <a:gd name="T80" fmla="*/ 572 w 1061"/>
                <a:gd name="T81" fmla="*/ 1706 h 1811"/>
                <a:gd name="T82" fmla="*/ 373 w 1061"/>
                <a:gd name="T83" fmla="*/ 1670 h 181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061"/>
                <a:gd name="T127" fmla="*/ 0 h 1811"/>
                <a:gd name="T128" fmla="*/ 1061 w 1061"/>
                <a:gd name="T129" fmla="*/ 1811 h 181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061" h="1811">
                  <a:moveTo>
                    <a:pt x="295" y="1670"/>
                  </a:moveTo>
                  <a:lnTo>
                    <a:pt x="261" y="1609"/>
                  </a:lnTo>
                  <a:lnTo>
                    <a:pt x="172" y="1618"/>
                  </a:lnTo>
                  <a:lnTo>
                    <a:pt x="109" y="1658"/>
                  </a:lnTo>
                  <a:lnTo>
                    <a:pt x="70" y="1597"/>
                  </a:lnTo>
                  <a:lnTo>
                    <a:pt x="0" y="1583"/>
                  </a:lnTo>
                  <a:lnTo>
                    <a:pt x="43" y="1546"/>
                  </a:lnTo>
                  <a:lnTo>
                    <a:pt x="43" y="1489"/>
                  </a:lnTo>
                  <a:lnTo>
                    <a:pt x="7" y="1437"/>
                  </a:lnTo>
                  <a:lnTo>
                    <a:pt x="47" y="1416"/>
                  </a:lnTo>
                  <a:lnTo>
                    <a:pt x="136" y="1417"/>
                  </a:lnTo>
                  <a:lnTo>
                    <a:pt x="134" y="1292"/>
                  </a:lnTo>
                  <a:lnTo>
                    <a:pt x="181" y="1220"/>
                  </a:lnTo>
                  <a:lnTo>
                    <a:pt x="104" y="1204"/>
                  </a:lnTo>
                  <a:lnTo>
                    <a:pt x="157" y="1141"/>
                  </a:lnTo>
                  <a:lnTo>
                    <a:pt x="136" y="1069"/>
                  </a:lnTo>
                  <a:lnTo>
                    <a:pt x="209" y="1063"/>
                  </a:lnTo>
                  <a:lnTo>
                    <a:pt x="256" y="1099"/>
                  </a:lnTo>
                  <a:lnTo>
                    <a:pt x="373" y="1094"/>
                  </a:lnTo>
                  <a:lnTo>
                    <a:pt x="385" y="1019"/>
                  </a:lnTo>
                  <a:lnTo>
                    <a:pt x="473" y="1027"/>
                  </a:lnTo>
                  <a:lnTo>
                    <a:pt x="478" y="999"/>
                  </a:lnTo>
                  <a:lnTo>
                    <a:pt x="551" y="988"/>
                  </a:lnTo>
                  <a:lnTo>
                    <a:pt x="550" y="943"/>
                  </a:lnTo>
                  <a:lnTo>
                    <a:pt x="513" y="909"/>
                  </a:lnTo>
                  <a:lnTo>
                    <a:pt x="519" y="858"/>
                  </a:lnTo>
                  <a:lnTo>
                    <a:pt x="558" y="812"/>
                  </a:lnTo>
                  <a:lnTo>
                    <a:pt x="543" y="756"/>
                  </a:lnTo>
                  <a:lnTo>
                    <a:pt x="489" y="713"/>
                  </a:lnTo>
                  <a:lnTo>
                    <a:pt x="410" y="706"/>
                  </a:lnTo>
                  <a:lnTo>
                    <a:pt x="371" y="650"/>
                  </a:lnTo>
                  <a:lnTo>
                    <a:pt x="292" y="644"/>
                  </a:lnTo>
                  <a:lnTo>
                    <a:pt x="270" y="595"/>
                  </a:lnTo>
                  <a:lnTo>
                    <a:pt x="276" y="499"/>
                  </a:lnTo>
                  <a:lnTo>
                    <a:pt x="311" y="464"/>
                  </a:lnTo>
                  <a:lnTo>
                    <a:pt x="339" y="467"/>
                  </a:lnTo>
                  <a:lnTo>
                    <a:pt x="380" y="448"/>
                  </a:lnTo>
                  <a:lnTo>
                    <a:pt x="427" y="430"/>
                  </a:lnTo>
                  <a:lnTo>
                    <a:pt x="470" y="461"/>
                  </a:lnTo>
                  <a:lnTo>
                    <a:pt x="520" y="454"/>
                  </a:lnTo>
                  <a:lnTo>
                    <a:pt x="533" y="407"/>
                  </a:lnTo>
                  <a:lnTo>
                    <a:pt x="587" y="347"/>
                  </a:lnTo>
                  <a:lnTo>
                    <a:pt x="650" y="280"/>
                  </a:lnTo>
                  <a:lnTo>
                    <a:pt x="644" y="236"/>
                  </a:lnTo>
                  <a:lnTo>
                    <a:pt x="691" y="235"/>
                  </a:lnTo>
                  <a:lnTo>
                    <a:pt x="734" y="197"/>
                  </a:lnTo>
                  <a:lnTo>
                    <a:pt x="746" y="106"/>
                  </a:lnTo>
                  <a:lnTo>
                    <a:pt x="791" y="88"/>
                  </a:lnTo>
                  <a:lnTo>
                    <a:pt x="772" y="52"/>
                  </a:lnTo>
                  <a:lnTo>
                    <a:pt x="820" y="40"/>
                  </a:lnTo>
                  <a:lnTo>
                    <a:pt x="876" y="64"/>
                  </a:lnTo>
                  <a:lnTo>
                    <a:pt x="932" y="0"/>
                  </a:lnTo>
                  <a:lnTo>
                    <a:pt x="970" y="3"/>
                  </a:lnTo>
                  <a:lnTo>
                    <a:pt x="962" y="86"/>
                  </a:lnTo>
                  <a:lnTo>
                    <a:pt x="926" y="128"/>
                  </a:lnTo>
                  <a:lnTo>
                    <a:pt x="920" y="241"/>
                  </a:lnTo>
                  <a:lnTo>
                    <a:pt x="874" y="292"/>
                  </a:lnTo>
                  <a:lnTo>
                    <a:pt x="869" y="358"/>
                  </a:lnTo>
                  <a:lnTo>
                    <a:pt x="924" y="431"/>
                  </a:lnTo>
                  <a:lnTo>
                    <a:pt x="899" y="532"/>
                  </a:lnTo>
                  <a:lnTo>
                    <a:pt x="874" y="563"/>
                  </a:lnTo>
                  <a:lnTo>
                    <a:pt x="883" y="731"/>
                  </a:lnTo>
                  <a:lnTo>
                    <a:pt x="874" y="811"/>
                  </a:lnTo>
                  <a:lnTo>
                    <a:pt x="914" y="848"/>
                  </a:lnTo>
                  <a:lnTo>
                    <a:pt x="919" y="986"/>
                  </a:lnTo>
                  <a:lnTo>
                    <a:pt x="871" y="1034"/>
                  </a:lnTo>
                  <a:lnTo>
                    <a:pt x="871" y="1106"/>
                  </a:lnTo>
                  <a:lnTo>
                    <a:pt x="893" y="1142"/>
                  </a:lnTo>
                  <a:lnTo>
                    <a:pt x="955" y="1222"/>
                  </a:lnTo>
                  <a:lnTo>
                    <a:pt x="1018" y="1355"/>
                  </a:lnTo>
                  <a:lnTo>
                    <a:pt x="1058" y="1361"/>
                  </a:lnTo>
                  <a:lnTo>
                    <a:pt x="1061" y="1456"/>
                  </a:lnTo>
                  <a:lnTo>
                    <a:pt x="920" y="1480"/>
                  </a:lnTo>
                  <a:lnTo>
                    <a:pt x="771" y="1465"/>
                  </a:lnTo>
                  <a:lnTo>
                    <a:pt x="898" y="1585"/>
                  </a:lnTo>
                  <a:lnTo>
                    <a:pt x="821" y="1599"/>
                  </a:lnTo>
                  <a:lnTo>
                    <a:pt x="779" y="1633"/>
                  </a:lnTo>
                  <a:lnTo>
                    <a:pt x="797" y="1786"/>
                  </a:lnTo>
                  <a:lnTo>
                    <a:pt x="723" y="1811"/>
                  </a:lnTo>
                  <a:lnTo>
                    <a:pt x="697" y="1738"/>
                  </a:lnTo>
                  <a:lnTo>
                    <a:pt x="620" y="1750"/>
                  </a:lnTo>
                  <a:lnTo>
                    <a:pt x="572" y="1706"/>
                  </a:lnTo>
                  <a:lnTo>
                    <a:pt x="416" y="1712"/>
                  </a:lnTo>
                  <a:lnTo>
                    <a:pt x="373" y="1670"/>
                  </a:lnTo>
                  <a:lnTo>
                    <a:pt x="295" y="167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zh-CN" altLang="en-US"/>
            </a:p>
          </p:txBody>
        </p:sp>
        <p:sp>
          <p:nvSpPr>
            <p:cNvPr id="32" name="Freeform 110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4985" y="2509"/>
              <a:ext cx="330" cy="294"/>
            </a:xfrm>
            <a:custGeom>
              <a:avLst/>
              <a:gdLst>
                <a:gd name="T0" fmla="*/ 614 w 1252"/>
                <a:gd name="T1" fmla="*/ 171 h 1113"/>
                <a:gd name="T2" fmla="*/ 441 w 1252"/>
                <a:gd name="T3" fmla="*/ 260 h 1113"/>
                <a:gd name="T4" fmla="*/ 321 w 1252"/>
                <a:gd name="T5" fmla="*/ 305 h 1113"/>
                <a:gd name="T6" fmla="*/ 249 w 1252"/>
                <a:gd name="T7" fmla="*/ 353 h 1113"/>
                <a:gd name="T8" fmla="*/ 156 w 1252"/>
                <a:gd name="T9" fmla="*/ 398 h 1113"/>
                <a:gd name="T10" fmla="*/ 0 w 1252"/>
                <a:gd name="T11" fmla="*/ 469 h 1113"/>
                <a:gd name="T12" fmla="*/ 125 w 1252"/>
                <a:gd name="T13" fmla="*/ 686 h 1113"/>
                <a:gd name="T14" fmla="*/ 168 w 1252"/>
                <a:gd name="T15" fmla="*/ 785 h 1113"/>
                <a:gd name="T16" fmla="*/ 377 w 1252"/>
                <a:gd name="T17" fmla="*/ 930 h 1113"/>
                <a:gd name="T18" fmla="*/ 546 w 1252"/>
                <a:gd name="T19" fmla="*/ 937 h 1113"/>
                <a:gd name="T20" fmla="*/ 680 w 1252"/>
                <a:gd name="T21" fmla="*/ 944 h 1113"/>
                <a:gd name="T22" fmla="*/ 748 w 1252"/>
                <a:gd name="T23" fmla="*/ 992 h 1113"/>
                <a:gd name="T24" fmla="*/ 852 w 1252"/>
                <a:gd name="T25" fmla="*/ 1040 h 1113"/>
                <a:gd name="T26" fmla="*/ 965 w 1252"/>
                <a:gd name="T27" fmla="*/ 1113 h 1113"/>
                <a:gd name="T28" fmla="*/ 1030 w 1252"/>
                <a:gd name="T29" fmla="*/ 1072 h 1113"/>
                <a:gd name="T30" fmla="*/ 1103 w 1252"/>
                <a:gd name="T31" fmla="*/ 1061 h 1113"/>
                <a:gd name="T32" fmla="*/ 1179 w 1252"/>
                <a:gd name="T33" fmla="*/ 886 h 1113"/>
                <a:gd name="T34" fmla="*/ 1100 w 1252"/>
                <a:gd name="T35" fmla="*/ 876 h 1113"/>
                <a:gd name="T36" fmla="*/ 1001 w 1252"/>
                <a:gd name="T37" fmla="*/ 773 h 1113"/>
                <a:gd name="T38" fmla="*/ 1028 w 1252"/>
                <a:gd name="T39" fmla="*/ 721 h 1113"/>
                <a:gd name="T40" fmla="*/ 1068 w 1252"/>
                <a:gd name="T41" fmla="*/ 576 h 1113"/>
                <a:gd name="T42" fmla="*/ 1099 w 1252"/>
                <a:gd name="T43" fmla="*/ 481 h 1113"/>
                <a:gd name="T44" fmla="*/ 1252 w 1252"/>
                <a:gd name="T45" fmla="*/ 515 h 1113"/>
                <a:gd name="T46" fmla="*/ 1173 w 1252"/>
                <a:gd name="T47" fmla="*/ 429 h 1113"/>
                <a:gd name="T48" fmla="*/ 1080 w 1252"/>
                <a:gd name="T49" fmla="*/ 344 h 1113"/>
                <a:gd name="T50" fmla="*/ 1023 w 1252"/>
                <a:gd name="T51" fmla="*/ 374 h 1113"/>
                <a:gd name="T52" fmla="*/ 876 w 1252"/>
                <a:gd name="T53" fmla="*/ 311 h 1113"/>
                <a:gd name="T54" fmla="*/ 1005 w 1252"/>
                <a:gd name="T55" fmla="*/ 117 h 1113"/>
                <a:gd name="T56" fmla="*/ 955 w 1252"/>
                <a:gd name="T57" fmla="*/ 80 h 1113"/>
                <a:gd name="T58" fmla="*/ 878 w 1252"/>
                <a:gd name="T59" fmla="*/ 30 h 1113"/>
                <a:gd name="T60" fmla="*/ 713 w 1252"/>
                <a:gd name="T61" fmla="*/ 0 h 1113"/>
                <a:gd name="T62" fmla="*/ 617 w 1252"/>
                <a:gd name="T63" fmla="*/ 6 h 111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52"/>
                <a:gd name="T97" fmla="*/ 0 h 1113"/>
                <a:gd name="T98" fmla="*/ 1252 w 1252"/>
                <a:gd name="T99" fmla="*/ 1113 h 111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52" h="1113">
                  <a:moveTo>
                    <a:pt x="617" y="6"/>
                  </a:moveTo>
                  <a:lnTo>
                    <a:pt x="614" y="171"/>
                  </a:lnTo>
                  <a:lnTo>
                    <a:pt x="521" y="273"/>
                  </a:lnTo>
                  <a:lnTo>
                    <a:pt x="441" y="260"/>
                  </a:lnTo>
                  <a:lnTo>
                    <a:pt x="429" y="293"/>
                  </a:lnTo>
                  <a:lnTo>
                    <a:pt x="321" y="305"/>
                  </a:lnTo>
                  <a:lnTo>
                    <a:pt x="325" y="355"/>
                  </a:lnTo>
                  <a:lnTo>
                    <a:pt x="249" y="353"/>
                  </a:lnTo>
                  <a:lnTo>
                    <a:pt x="242" y="402"/>
                  </a:lnTo>
                  <a:lnTo>
                    <a:pt x="156" y="398"/>
                  </a:lnTo>
                  <a:lnTo>
                    <a:pt x="81" y="469"/>
                  </a:lnTo>
                  <a:lnTo>
                    <a:pt x="0" y="469"/>
                  </a:lnTo>
                  <a:lnTo>
                    <a:pt x="62" y="552"/>
                  </a:lnTo>
                  <a:lnTo>
                    <a:pt x="125" y="686"/>
                  </a:lnTo>
                  <a:lnTo>
                    <a:pt x="165" y="690"/>
                  </a:lnTo>
                  <a:lnTo>
                    <a:pt x="168" y="785"/>
                  </a:lnTo>
                  <a:lnTo>
                    <a:pt x="306" y="918"/>
                  </a:lnTo>
                  <a:lnTo>
                    <a:pt x="377" y="930"/>
                  </a:lnTo>
                  <a:lnTo>
                    <a:pt x="447" y="966"/>
                  </a:lnTo>
                  <a:lnTo>
                    <a:pt x="546" y="937"/>
                  </a:lnTo>
                  <a:lnTo>
                    <a:pt x="633" y="919"/>
                  </a:lnTo>
                  <a:lnTo>
                    <a:pt x="680" y="944"/>
                  </a:lnTo>
                  <a:lnTo>
                    <a:pt x="732" y="911"/>
                  </a:lnTo>
                  <a:lnTo>
                    <a:pt x="748" y="992"/>
                  </a:lnTo>
                  <a:lnTo>
                    <a:pt x="805" y="1052"/>
                  </a:lnTo>
                  <a:lnTo>
                    <a:pt x="852" y="1040"/>
                  </a:lnTo>
                  <a:lnTo>
                    <a:pt x="903" y="1060"/>
                  </a:lnTo>
                  <a:lnTo>
                    <a:pt x="965" y="1113"/>
                  </a:lnTo>
                  <a:lnTo>
                    <a:pt x="1030" y="1109"/>
                  </a:lnTo>
                  <a:lnTo>
                    <a:pt x="1030" y="1072"/>
                  </a:lnTo>
                  <a:lnTo>
                    <a:pt x="1091" y="1102"/>
                  </a:lnTo>
                  <a:lnTo>
                    <a:pt x="1103" y="1061"/>
                  </a:lnTo>
                  <a:lnTo>
                    <a:pt x="1184" y="992"/>
                  </a:lnTo>
                  <a:lnTo>
                    <a:pt x="1179" y="886"/>
                  </a:lnTo>
                  <a:lnTo>
                    <a:pt x="1140" y="838"/>
                  </a:lnTo>
                  <a:lnTo>
                    <a:pt x="1100" y="876"/>
                  </a:lnTo>
                  <a:lnTo>
                    <a:pt x="1030" y="827"/>
                  </a:lnTo>
                  <a:lnTo>
                    <a:pt x="1001" y="773"/>
                  </a:lnTo>
                  <a:lnTo>
                    <a:pt x="961" y="734"/>
                  </a:lnTo>
                  <a:lnTo>
                    <a:pt x="1028" y="721"/>
                  </a:lnTo>
                  <a:lnTo>
                    <a:pt x="1036" y="618"/>
                  </a:lnTo>
                  <a:lnTo>
                    <a:pt x="1068" y="576"/>
                  </a:lnTo>
                  <a:lnTo>
                    <a:pt x="1059" y="505"/>
                  </a:lnTo>
                  <a:lnTo>
                    <a:pt x="1099" y="481"/>
                  </a:lnTo>
                  <a:lnTo>
                    <a:pt x="1175" y="558"/>
                  </a:lnTo>
                  <a:lnTo>
                    <a:pt x="1252" y="515"/>
                  </a:lnTo>
                  <a:lnTo>
                    <a:pt x="1245" y="428"/>
                  </a:lnTo>
                  <a:lnTo>
                    <a:pt x="1173" y="429"/>
                  </a:lnTo>
                  <a:lnTo>
                    <a:pt x="1173" y="378"/>
                  </a:lnTo>
                  <a:lnTo>
                    <a:pt x="1080" y="344"/>
                  </a:lnTo>
                  <a:lnTo>
                    <a:pt x="1079" y="374"/>
                  </a:lnTo>
                  <a:lnTo>
                    <a:pt x="1023" y="374"/>
                  </a:lnTo>
                  <a:lnTo>
                    <a:pt x="963" y="298"/>
                  </a:lnTo>
                  <a:lnTo>
                    <a:pt x="876" y="311"/>
                  </a:lnTo>
                  <a:lnTo>
                    <a:pt x="890" y="224"/>
                  </a:lnTo>
                  <a:lnTo>
                    <a:pt x="1005" y="117"/>
                  </a:lnTo>
                  <a:lnTo>
                    <a:pt x="1080" y="11"/>
                  </a:lnTo>
                  <a:lnTo>
                    <a:pt x="955" y="80"/>
                  </a:lnTo>
                  <a:lnTo>
                    <a:pt x="955" y="16"/>
                  </a:lnTo>
                  <a:lnTo>
                    <a:pt x="878" y="30"/>
                  </a:lnTo>
                  <a:lnTo>
                    <a:pt x="772" y="35"/>
                  </a:lnTo>
                  <a:lnTo>
                    <a:pt x="713" y="0"/>
                  </a:lnTo>
                  <a:lnTo>
                    <a:pt x="671" y="12"/>
                  </a:lnTo>
                  <a:lnTo>
                    <a:pt x="617" y="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endParaRPr lang="zh-CN" altLang="en-US"/>
            </a:p>
          </p:txBody>
        </p:sp>
        <p:sp>
          <p:nvSpPr>
            <p:cNvPr id="33" name="Freeform 111"/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5239" y="2599"/>
              <a:ext cx="263" cy="307"/>
            </a:xfrm>
            <a:custGeom>
              <a:avLst/>
              <a:gdLst>
                <a:gd name="T0" fmla="*/ 970 w 1003"/>
                <a:gd name="T1" fmla="*/ 707 h 1161"/>
                <a:gd name="T2" fmla="*/ 862 w 1003"/>
                <a:gd name="T3" fmla="*/ 731 h 1161"/>
                <a:gd name="T4" fmla="*/ 835 w 1003"/>
                <a:gd name="T5" fmla="*/ 627 h 1161"/>
                <a:gd name="T6" fmla="*/ 731 w 1003"/>
                <a:gd name="T7" fmla="*/ 501 h 1161"/>
                <a:gd name="T8" fmla="*/ 842 w 1003"/>
                <a:gd name="T9" fmla="*/ 418 h 1161"/>
                <a:gd name="T10" fmla="*/ 782 w 1003"/>
                <a:gd name="T11" fmla="*/ 314 h 1161"/>
                <a:gd name="T12" fmla="*/ 677 w 1003"/>
                <a:gd name="T13" fmla="*/ 371 h 1161"/>
                <a:gd name="T14" fmla="*/ 608 w 1003"/>
                <a:gd name="T15" fmla="*/ 298 h 1161"/>
                <a:gd name="T16" fmla="*/ 544 w 1003"/>
                <a:gd name="T17" fmla="*/ 175 h 1161"/>
                <a:gd name="T18" fmla="*/ 408 w 1003"/>
                <a:gd name="T19" fmla="*/ 126 h 1161"/>
                <a:gd name="T20" fmla="*/ 218 w 1003"/>
                <a:gd name="T21" fmla="*/ 0 h 1161"/>
                <a:gd name="T22" fmla="*/ 213 w 1003"/>
                <a:gd name="T23" fmla="*/ 90 h 1161"/>
                <a:gd name="T24" fmla="*/ 293 w 1003"/>
                <a:gd name="T25" fmla="*/ 176 h 1161"/>
                <a:gd name="T26" fmla="*/ 140 w 1003"/>
                <a:gd name="T27" fmla="*/ 143 h 1161"/>
                <a:gd name="T28" fmla="*/ 108 w 1003"/>
                <a:gd name="T29" fmla="*/ 239 h 1161"/>
                <a:gd name="T30" fmla="*/ 68 w 1003"/>
                <a:gd name="T31" fmla="*/ 383 h 1161"/>
                <a:gd name="T32" fmla="*/ 41 w 1003"/>
                <a:gd name="T33" fmla="*/ 434 h 1161"/>
                <a:gd name="T34" fmla="*/ 138 w 1003"/>
                <a:gd name="T35" fmla="*/ 537 h 1161"/>
                <a:gd name="T36" fmla="*/ 219 w 1003"/>
                <a:gd name="T37" fmla="*/ 548 h 1161"/>
                <a:gd name="T38" fmla="*/ 144 w 1003"/>
                <a:gd name="T39" fmla="*/ 722 h 1161"/>
                <a:gd name="T40" fmla="*/ 192 w 1003"/>
                <a:gd name="T41" fmla="*/ 822 h 1161"/>
                <a:gd name="T42" fmla="*/ 283 w 1003"/>
                <a:gd name="T43" fmla="*/ 848 h 1161"/>
                <a:gd name="T44" fmla="*/ 247 w 1003"/>
                <a:gd name="T45" fmla="*/ 953 h 1161"/>
                <a:gd name="T46" fmla="*/ 321 w 1003"/>
                <a:gd name="T47" fmla="*/ 1125 h 1161"/>
                <a:gd name="T48" fmla="*/ 415 w 1003"/>
                <a:gd name="T49" fmla="*/ 1086 h 1161"/>
                <a:gd name="T50" fmla="*/ 480 w 1003"/>
                <a:gd name="T51" fmla="*/ 1117 h 1161"/>
                <a:gd name="T52" fmla="*/ 512 w 1003"/>
                <a:gd name="T53" fmla="*/ 1147 h 1161"/>
                <a:gd name="T54" fmla="*/ 587 w 1003"/>
                <a:gd name="T55" fmla="*/ 1082 h 1161"/>
                <a:gd name="T56" fmla="*/ 728 w 1003"/>
                <a:gd name="T57" fmla="*/ 1123 h 1161"/>
                <a:gd name="T58" fmla="*/ 811 w 1003"/>
                <a:gd name="T59" fmla="*/ 1142 h 1161"/>
                <a:gd name="T60" fmla="*/ 887 w 1003"/>
                <a:gd name="T61" fmla="*/ 954 h 1161"/>
                <a:gd name="T62" fmla="*/ 964 w 1003"/>
                <a:gd name="T63" fmla="*/ 914 h 1161"/>
                <a:gd name="T64" fmla="*/ 998 w 1003"/>
                <a:gd name="T65" fmla="*/ 801 h 11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003"/>
                <a:gd name="T100" fmla="*/ 0 h 1161"/>
                <a:gd name="T101" fmla="*/ 1003 w 1003"/>
                <a:gd name="T102" fmla="*/ 1161 h 11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003" h="1161">
                  <a:moveTo>
                    <a:pt x="1003" y="733"/>
                  </a:moveTo>
                  <a:lnTo>
                    <a:pt x="970" y="707"/>
                  </a:lnTo>
                  <a:lnTo>
                    <a:pt x="915" y="696"/>
                  </a:lnTo>
                  <a:lnTo>
                    <a:pt x="862" y="731"/>
                  </a:lnTo>
                  <a:lnTo>
                    <a:pt x="825" y="707"/>
                  </a:lnTo>
                  <a:lnTo>
                    <a:pt x="835" y="627"/>
                  </a:lnTo>
                  <a:lnTo>
                    <a:pt x="731" y="599"/>
                  </a:lnTo>
                  <a:lnTo>
                    <a:pt x="731" y="501"/>
                  </a:lnTo>
                  <a:lnTo>
                    <a:pt x="758" y="424"/>
                  </a:lnTo>
                  <a:lnTo>
                    <a:pt x="842" y="418"/>
                  </a:lnTo>
                  <a:lnTo>
                    <a:pt x="835" y="322"/>
                  </a:lnTo>
                  <a:lnTo>
                    <a:pt x="782" y="314"/>
                  </a:lnTo>
                  <a:lnTo>
                    <a:pt x="770" y="371"/>
                  </a:lnTo>
                  <a:lnTo>
                    <a:pt x="677" y="371"/>
                  </a:lnTo>
                  <a:lnTo>
                    <a:pt x="653" y="302"/>
                  </a:lnTo>
                  <a:lnTo>
                    <a:pt x="608" y="298"/>
                  </a:lnTo>
                  <a:lnTo>
                    <a:pt x="608" y="175"/>
                  </a:lnTo>
                  <a:lnTo>
                    <a:pt x="544" y="175"/>
                  </a:lnTo>
                  <a:lnTo>
                    <a:pt x="495" y="125"/>
                  </a:lnTo>
                  <a:lnTo>
                    <a:pt x="408" y="126"/>
                  </a:lnTo>
                  <a:lnTo>
                    <a:pt x="329" y="40"/>
                  </a:lnTo>
                  <a:lnTo>
                    <a:pt x="218" y="0"/>
                  </a:lnTo>
                  <a:lnTo>
                    <a:pt x="213" y="38"/>
                  </a:lnTo>
                  <a:lnTo>
                    <a:pt x="213" y="90"/>
                  </a:lnTo>
                  <a:lnTo>
                    <a:pt x="285" y="88"/>
                  </a:lnTo>
                  <a:lnTo>
                    <a:pt x="293" y="176"/>
                  </a:lnTo>
                  <a:lnTo>
                    <a:pt x="215" y="219"/>
                  </a:lnTo>
                  <a:lnTo>
                    <a:pt x="140" y="143"/>
                  </a:lnTo>
                  <a:lnTo>
                    <a:pt x="99" y="167"/>
                  </a:lnTo>
                  <a:lnTo>
                    <a:pt x="108" y="239"/>
                  </a:lnTo>
                  <a:lnTo>
                    <a:pt x="77" y="277"/>
                  </a:lnTo>
                  <a:lnTo>
                    <a:pt x="68" y="383"/>
                  </a:lnTo>
                  <a:lnTo>
                    <a:pt x="0" y="395"/>
                  </a:lnTo>
                  <a:lnTo>
                    <a:pt x="41" y="434"/>
                  </a:lnTo>
                  <a:lnTo>
                    <a:pt x="69" y="486"/>
                  </a:lnTo>
                  <a:lnTo>
                    <a:pt x="138" y="537"/>
                  </a:lnTo>
                  <a:lnTo>
                    <a:pt x="182" y="500"/>
                  </a:lnTo>
                  <a:lnTo>
                    <a:pt x="219" y="548"/>
                  </a:lnTo>
                  <a:lnTo>
                    <a:pt x="224" y="651"/>
                  </a:lnTo>
                  <a:lnTo>
                    <a:pt x="144" y="722"/>
                  </a:lnTo>
                  <a:lnTo>
                    <a:pt x="130" y="764"/>
                  </a:lnTo>
                  <a:lnTo>
                    <a:pt x="192" y="822"/>
                  </a:lnTo>
                  <a:lnTo>
                    <a:pt x="247" y="822"/>
                  </a:lnTo>
                  <a:lnTo>
                    <a:pt x="283" y="848"/>
                  </a:lnTo>
                  <a:lnTo>
                    <a:pt x="240" y="903"/>
                  </a:lnTo>
                  <a:lnTo>
                    <a:pt x="247" y="953"/>
                  </a:lnTo>
                  <a:lnTo>
                    <a:pt x="314" y="1037"/>
                  </a:lnTo>
                  <a:lnTo>
                    <a:pt x="321" y="1125"/>
                  </a:lnTo>
                  <a:lnTo>
                    <a:pt x="371" y="1125"/>
                  </a:lnTo>
                  <a:lnTo>
                    <a:pt x="415" y="1086"/>
                  </a:lnTo>
                  <a:lnTo>
                    <a:pt x="480" y="1058"/>
                  </a:lnTo>
                  <a:lnTo>
                    <a:pt x="480" y="1117"/>
                  </a:lnTo>
                  <a:lnTo>
                    <a:pt x="462" y="1155"/>
                  </a:lnTo>
                  <a:lnTo>
                    <a:pt x="512" y="1147"/>
                  </a:lnTo>
                  <a:lnTo>
                    <a:pt x="535" y="1082"/>
                  </a:lnTo>
                  <a:lnTo>
                    <a:pt x="587" y="1082"/>
                  </a:lnTo>
                  <a:lnTo>
                    <a:pt x="629" y="1119"/>
                  </a:lnTo>
                  <a:lnTo>
                    <a:pt x="728" y="1123"/>
                  </a:lnTo>
                  <a:lnTo>
                    <a:pt x="750" y="1161"/>
                  </a:lnTo>
                  <a:lnTo>
                    <a:pt x="811" y="1142"/>
                  </a:lnTo>
                  <a:lnTo>
                    <a:pt x="893" y="1038"/>
                  </a:lnTo>
                  <a:lnTo>
                    <a:pt x="887" y="954"/>
                  </a:lnTo>
                  <a:lnTo>
                    <a:pt x="906" y="920"/>
                  </a:lnTo>
                  <a:lnTo>
                    <a:pt x="964" y="914"/>
                  </a:lnTo>
                  <a:lnTo>
                    <a:pt x="946" y="853"/>
                  </a:lnTo>
                  <a:lnTo>
                    <a:pt x="998" y="801"/>
                  </a:lnTo>
                  <a:lnTo>
                    <a:pt x="1003" y="733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34" name="Freeform 112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4652" y="2976"/>
              <a:ext cx="325" cy="306"/>
            </a:xfrm>
            <a:custGeom>
              <a:avLst/>
              <a:gdLst>
                <a:gd name="T0" fmla="*/ 243 w 1242"/>
                <a:gd name="T1" fmla="*/ 1079 h 1155"/>
                <a:gd name="T2" fmla="*/ 429 w 1242"/>
                <a:gd name="T3" fmla="*/ 1062 h 1155"/>
                <a:gd name="T4" fmla="*/ 569 w 1242"/>
                <a:gd name="T5" fmla="*/ 994 h 1155"/>
                <a:gd name="T6" fmla="*/ 643 w 1242"/>
                <a:gd name="T7" fmla="*/ 951 h 1155"/>
                <a:gd name="T8" fmla="*/ 764 w 1242"/>
                <a:gd name="T9" fmla="*/ 865 h 1155"/>
                <a:gd name="T10" fmla="*/ 858 w 1242"/>
                <a:gd name="T11" fmla="*/ 915 h 1155"/>
                <a:gd name="T12" fmla="*/ 941 w 1242"/>
                <a:gd name="T13" fmla="*/ 950 h 1155"/>
                <a:gd name="T14" fmla="*/ 1055 w 1242"/>
                <a:gd name="T15" fmla="*/ 883 h 1155"/>
                <a:gd name="T16" fmla="*/ 1143 w 1242"/>
                <a:gd name="T17" fmla="*/ 834 h 1155"/>
                <a:gd name="T18" fmla="*/ 1224 w 1242"/>
                <a:gd name="T19" fmla="*/ 786 h 1155"/>
                <a:gd name="T20" fmla="*/ 1207 w 1242"/>
                <a:gd name="T21" fmla="*/ 651 h 1155"/>
                <a:gd name="T22" fmla="*/ 1241 w 1242"/>
                <a:gd name="T23" fmla="*/ 505 h 1155"/>
                <a:gd name="T24" fmla="*/ 1107 w 1242"/>
                <a:gd name="T25" fmla="*/ 478 h 1155"/>
                <a:gd name="T26" fmla="*/ 1200 w 1242"/>
                <a:gd name="T27" fmla="*/ 364 h 1155"/>
                <a:gd name="T28" fmla="*/ 1169 w 1242"/>
                <a:gd name="T29" fmla="*/ 283 h 1155"/>
                <a:gd name="T30" fmla="*/ 1067 w 1242"/>
                <a:gd name="T31" fmla="*/ 214 h 1155"/>
                <a:gd name="T32" fmla="*/ 962 w 1242"/>
                <a:gd name="T33" fmla="*/ 111 h 1155"/>
                <a:gd name="T34" fmla="*/ 903 w 1242"/>
                <a:gd name="T35" fmla="*/ 12 h 1155"/>
                <a:gd name="T36" fmla="*/ 832 w 1242"/>
                <a:gd name="T37" fmla="*/ 0 h 1155"/>
                <a:gd name="T38" fmla="*/ 785 w 1242"/>
                <a:gd name="T39" fmla="*/ 61 h 1155"/>
                <a:gd name="T40" fmla="*/ 662 w 1242"/>
                <a:gd name="T41" fmla="*/ 87 h 1155"/>
                <a:gd name="T42" fmla="*/ 629 w 1242"/>
                <a:gd name="T43" fmla="*/ 174 h 1155"/>
                <a:gd name="T44" fmla="*/ 518 w 1242"/>
                <a:gd name="T45" fmla="*/ 162 h 1155"/>
                <a:gd name="T46" fmla="*/ 414 w 1242"/>
                <a:gd name="T47" fmla="*/ 180 h 1155"/>
                <a:gd name="T48" fmla="*/ 462 w 1242"/>
                <a:gd name="T49" fmla="*/ 253 h 1155"/>
                <a:gd name="T50" fmla="*/ 549 w 1242"/>
                <a:gd name="T51" fmla="*/ 339 h 1155"/>
                <a:gd name="T52" fmla="*/ 385 w 1242"/>
                <a:gd name="T53" fmla="*/ 358 h 1155"/>
                <a:gd name="T54" fmla="*/ 316 w 1242"/>
                <a:gd name="T55" fmla="*/ 419 h 1155"/>
                <a:gd name="T56" fmla="*/ 254 w 1242"/>
                <a:gd name="T57" fmla="*/ 463 h 1155"/>
                <a:gd name="T58" fmla="*/ 5 w 1242"/>
                <a:gd name="T59" fmla="*/ 484 h 1155"/>
                <a:gd name="T60" fmla="*/ 152 w 1242"/>
                <a:gd name="T61" fmla="*/ 622 h 1155"/>
                <a:gd name="T62" fmla="*/ 134 w 1242"/>
                <a:gd name="T63" fmla="*/ 825 h 1155"/>
                <a:gd name="T64" fmla="*/ 201 w 1242"/>
                <a:gd name="T65" fmla="*/ 926 h 1155"/>
                <a:gd name="T66" fmla="*/ 163 w 1242"/>
                <a:gd name="T67" fmla="*/ 1069 h 115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242"/>
                <a:gd name="T103" fmla="*/ 0 h 1155"/>
                <a:gd name="T104" fmla="*/ 1242 w 1242"/>
                <a:gd name="T105" fmla="*/ 1155 h 115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242" h="1155">
                  <a:moveTo>
                    <a:pt x="181" y="1155"/>
                  </a:moveTo>
                  <a:lnTo>
                    <a:pt x="243" y="1079"/>
                  </a:lnTo>
                  <a:lnTo>
                    <a:pt x="336" y="1014"/>
                  </a:lnTo>
                  <a:lnTo>
                    <a:pt x="429" y="1062"/>
                  </a:lnTo>
                  <a:lnTo>
                    <a:pt x="526" y="1084"/>
                  </a:lnTo>
                  <a:lnTo>
                    <a:pt x="569" y="994"/>
                  </a:lnTo>
                  <a:lnTo>
                    <a:pt x="618" y="1001"/>
                  </a:lnTo>
                  <a:lnTo>
                    <a:pt x="643" y="951"/>
                  </a:lnTo>
                  <a:lnTo>
                    <a:pt x="703" y="963"/>
                  </a:lnTo>
                  <a:lnTo>
                    <a:pt x="764" y="865"/>
                  </a:lnTo>
                  <a:lnTo>
                    <a:pt x="791" y="925"/>
                  </a:lnTo>
                  <a:lnTo>
                    <a:pt x="858" y="915"/>
                  </a:lnTo>
                  <a:lnTo>
                    <a:pt x="869" y="950"/>
                  </a:lnTo>
                  <a:lnTo>
                    <a:pt x="941" y="950"/>
                  </a:lnTo>
                  <a:lnTo>
                    <a:pt x="986" y="860"/>
                  </a:lnTo>
                  <a:lnTo>
                    <a:pt x="1055" y="883"/>
                  </a:lnTo>
                  <a:lnTo>
                    <a:pt x="1085" y="829"/>
                  </a:lnTo>
                  <a:lnTo>
                    <a:pt x="1143" y="834"/>
                  </a:lnTo>
                  <a:lnTo>
                    <a:pt x="1151" y="772"/>
                  </a:lnTo>
                  <a:lnTo>
                    <a:pt x="1224" y="786"/>
                  </a:lnTo>
                  <a:lnTo>
                    <a:pt x="1242" y="720"/>
                  </a:lnTo>
                  <a:lnTo>
                    <a:pt x="1207" y="651"/>
                  </a:lnTo>
                  <a:lnTo>
                    <a:pt x="1200" y="549"/>
                  </a:lnTo>
                  <a:lnTo>
                    <a:pt x="1241" y="505"/>
                  </a:lnTo>
                  <a:lnTo>
                    <a:pt x="1235" y="466"/>
                  </a:lnTo>
                  <a:lnTo>
                    <a:pt x="1107" y="478"/>
                  </a:lnTo>
                  <a:lnTo>
                    <a:pt x="1125" y="412"/>
                  </a:lnTo>
                  <a:lnTo>
                    <a:pt x="1200" y="364"/>
                  </a:lnTo>
                  <a:lnTo>
                    <a:pt x="1200" y="304"/>
                  </a:lnTo>
                  <a:lnTo>
                    <a:pt x="1169" y="283"/>
                  </a:lnTo>
                  <a:lnTo>
                    <a:pt x="1151" y="193"/>
                  </a:lnTo>
                  <a:lnTo>
                    <a:pt x="1067" y="214"/>
                  </a:lnTo>
                  <a:lnTo>
                    <a:pt x="1026" y="118"/>
                  </a:lnTo>
                  <a:lnTo>
                    <a:pt x="962" y="111"/>
                  </a:lnTo>
                  <a:lnTo>
                    <a:pt x="956" y="15"/>
                  </a:lnTo>
                  <a:lnTo>
                    <a:pt x="903" y="12"/>
                  </a:lnTo>
                  <a:lnTo>
                    <a:pt x="869" y="43"/>
                  </a:lnTo>
                  <a:lnTo>
                    <a:pt x="832" y="0"/>
                  </a:lnTo>
                  <a:lnTo>
                    <a:pt x="782" y="0"/>
                  </a:lnTo>
                  <a:lnTo>
                    <a:pt x="785" y="61"/>
                  </a:lnTo>
                  <a:lnTo>
                    <a:pt x="752" y="87"/>
                  </a:lnTo>
                  <a:lnTo>
                    <a:pt x="662" y="87"/>
                  </a:lnTo>
                  <a:lnTo>
                    <a:pt x="654" y="156"/>
                  </a:lnTo>
                  <a:lnTo>
                    <a:pt x="629" y="174"/>
                  </a:lnTo>
                  <a:lnTo>
                    <a:pt x="578" y="147"/>
                  </a:lnTo>
                  <a:lnTo>
                    <a:pt x="518" y="162"/>
                  </a:lnTo>
                  <a:lnTo>
                    <a:pt x="482" y="129"/>
                  </a:lnTo>
                  <a:lnTo>
                    <a:pt x="414" y="180"/>
                  </a:lnTo>
                  <a:lnTo>
                    <a:pt x="417" y="229"/>
                  </a:lnTo>
                  <a:lnTo>
                    <a:pt x="462" y="253"/>
                  </a:lnTo>
                  <a:lnTo>
                    <a:pt x="519" y="264"/>
                  </a:lnTo>
                  <a:lnTo>
                    <a:pt x="549" y="339"/>
                  </a:lnTo>
                  <a:lnTo>
                    <a:pt x="453" y="373"/>
                  </a:lnTo>
                  <a:lnTo>
                    <a:pt x="385" y="358"/>
                  </a:lnTo>
                  <a:lnTo>
                    <a:pt x="341" y="367"/>
                  </a:lnTo>
                  <a:lnTo>
                    <a:pt x="316" y="419"/>
                  </a:lnTo>
                  <a:lnTo>
                    <a:pt x="273" y="427"/>
                  </a:lnTo>
                  <a:lnTo>
                    <a:pt x="254" y="463"/>
                  </a:lnTo>
                  <a:lnTo>
                    <a:pt x="93" y="444"/>
                  </a:lnTo>
                  <a:lnTo>
                    <a:pt x="5" y="484"/>
                  </a:lnTo>
                  <a:lnTo>
                    <a:pt x="0" y="640"/>
                  </a:lnTo>
                  <a:lnTo>
                    <a:pt x="152" y="622"/>
                  </a:lnTo>
                  <a:lnTo>
                    <a:pt x="189" y="676"/>
                  </a:lnTo>
                  <a:lnTo>
                    <a:pt x="134" y="825"/>
                  </a:lnTo>
                  <a:lnTo>
                    <a:pt x="137" y="915"/>
                  </a:lnTo>
                  <a:lnTo>
                    <a:pt x="201" y="926"/>
                  </a:lnTo>
                  <a:lnTo>
                    <a:pt x="212" y="1006"/>
                  </a:lnTo>
                  <a:lnTo>
                    <a:pt x="163" y="1069"/>
                  </a:lnTo>
                  <a:lnTo>
                    <a:pt x="181" y="1155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35" name="Freeform 113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4942" y="2902"/>
              <a:ext cx="301" cy="343"/>
            </a:xfrm>
            <a:custGeom>
              <a:avLst/>
              <a:gdLst>
                <a:gd name="T0" fmla="*/ 210 w 1139"/>
                <a:gd name="T1" fmla="*/ 1010 h 1293"/>
                <a:gd name="T2" fmla="*/ 250 w 1139"/>
                <a:gd name="T3" fmla="*/ 930 h 1293"/>
                <a:gd name="T4" fmla="*/ 337 w 1139"/>
                <a:gd name="T5" fmla="*/ 974 h 1293"/>
                <a:gd name="T6" fmla="*/ 430 w 1139"/>
                <a:gd name="T7" fmla="*/ 918 h 1293"/>
                <a:gd name="T8" fmla="*/ 508 w 1139"/>
                <a:gd name="T9" fmla="*/ 909 h 1293"/>
                <a:gd name="T10" fmla="*/ 552 w 1139"/>
                <a:gd name="T11" fmla="*/ 994 h 1293"/>
                <a:gd name="T12" fmla="*/ 465 w 1139"/>
                <a:gd name="T13" fmla="*/ 1206 h 1293"/>
                <a:gd name="T14" fmla="*/ 570 w 1139"/>
                <a:gd name="T15" fmla="*/ 1178 h 1293"/>
                <a:gd name="T16" fmla="*/ 617 w 1139"/>
                <a:gd name="T17" fmla="*/ 1293 h 1293"/>
                <a:gd name="T18" fmla="*/ 737 w 1139"/>
                <a:gd name="T19" fmla="*/ 1227 h 1293"/>
                <a:gd name="T20" fmla="*/ 812 w 1139"/>
                <a:gd name="T21" fmla="*/ 1131 h 1293"/>
                <a:gd name="T22" fmla="*/ 921 w 1139"/>
                <a:gd name="T23" fmla="*/ 1165 h 1293"/>
                <a:gd name="T24" fmla="*/ 974 w 1139"/>
                <a:gd name="T25" fmla="*/ 1049 h 1293"/>
                <a:gd name="T26" fmla="*/ 1104 w 1139"/>
                <a:gd name="T27" fmla="*/ 1047 h 1293"/>
                <a:gd name="T28" fmla="*/ 1139 w 1139"/>
                <a:gd name="T29" fmla="*/ 885 h 1293"/>
                <a:gd name="T30" fmla="*/ 1119 w 1139"/>
                <a:gd name="T31" fmla="*/ 786 h 1293"/>
                <a:gd name="T32" fmla="*/ 1076 w 1139"/>
                <a:gd name="T33" fmla="*/ 699 h 1293"/>
                <a:gd name="T34" fmla="*/ 1049 w 1139"/>
                <a:gd name="T35" fmla="*/ 598 h 1293"/>
                <a:gd name="T36" fmla="*/ 1001 w 1139"/>
                <a:gd name="T37" fmla="*/ 466 h 1293"/>
                <a:gd name="T38" fmla="*/ 1091 w 1139"/>
                <a:gd name="T39" fmla="*/ 390 h 1293"/>
                <a:gd name="T40" fmla="*/ 1018 w 1139"/>
                <a:gd name="T41" fmla="*/ 202 h 1293"/>
                <a:gd name="T42" fmla="*/ 955 w 1139"/>
                <a:gd name="T43" fmla="*/ 165 h 1293"/>
                <a:gd name="T44" fmla="*/ 906 w 1139"/>
                <a:gd name="T45" fmla="*/ 33 h 1293"/>
                <a:gd name="T46" fmla="*/ 804 w 1139"/>
                <a:gd name="T47" fmla="*/ 137 h 1293"/>
                <a:gd name="T48" fmla="*/ 704 w 1139"/>
                <a:gd name="T49" fmla="*/ 76 h 1293"/>
                <a:gd name="T50" fmla="*/ 596 w 1139"/>
                <a:gd name="T51" fmla="*/ 55 h 1293"/>
                <a:gd name="T52" fmla="*/ 422 w 1139"/>
                <a:gd name="T53" fmla="*/ 0 h 1293"/>
                <a:gd name="T54" fmla="*/ 338 w 1139"/>
                <a:gd name="T55" fmla="*/ 27 h 1293"/>
                <a:gd name="T56" fmla="*/ 318 w 1139"/>
                <a:gd name="T57" fmla="*/ 68 h 1293"/>
                <a:gd name="T58" fmla="*/ 271 w 1139"/>
                <a:gd name="T59" fmla="*/ 134 h 1293"/>
                <a:gd name="T60" fmla="*/ 165 w 1139"/>
                <a:gd name="T61" fmla="*/ 106 h 1293"/>
                <a:gd name="T62" fmla="*/ 51 w 1139"/>
                <a:gd name="T63" fmla="*/ 202 h 1293"/>
                <a:gd name="T64" fmla="*/ 48 w 1139"/>
                <a:gd name="T65" fmla="*/ 370 h 1293"/>
                <a:gd name="T66" fmla="*/ 62 w 1139"/>
                <a:gd name="T67" fmla="*/ 559 h 1293"/>
                <a:gd name="T68" fmla="*/ 93 w 1139"/>
                <a:gd name="T69" fmla="*/ 640 h 1293"/>
                <a:gd name="T70" fmla="*/ 0 w 1139"/>
                <a:gd name="T71" fmla="*/ 754 h 1293"/>
                <a:gd name="T72" fmla="*/ 135 w 1139"/>
                <a:gd name="T73" fmla="*/ 780 h 1293"/>
                <a:gd name="T74" fmla="*/ 100 w 1139"/>
                <a:gd name="T75" fmla="*/ 925 h 12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39"/>
                <a:gd name="T115" fmla="*/ 0 h 1293"/>
                <a:gd name="T116" fmla="*/ 1139 w 1139"/>
                <a:gd name="T117" fmla="*/ 1293 h 12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39" h="1293">
                  <a:moveTo>
                    <a:pt x="135" y="997"/>
                  </a:moveTo>
                  <a:lnTo>
                    <a:pt x="210" y="1010"/>
                  </a:lnTo>
                  <a:lnTo>
                    <a:pt x="210" y="949"/>
                  </a:lnTo>
                  <a:lnTo>
                    <a:pt x="250" y="930"/>
                  </a:lnTo>
                  <a:lnTo>
                    <a:pt x="283" y="982"/>
                  </a:lnTo>
                  <a:lnTo>
                    <a:pt x="337" y="974"/>
                  </a:lnTo>
                  <a:lnTo>
                    <a:pt x="367" y="913"/>
                  </a:lnTo>
                  <a:lnTo>
                    <a:pt x="430" y="918"/>
                  </a:lnTo>
                  <a:lnTo>
                    <a:pt x="467" y="884"/>
                  </a:lnTo>
                  <a:lnTo>
                    <a:pt x="508" y="909"/>
                  </a:lnTo>
                  <a:lnTo>
                    <a:pt x="514" y="982"/>
                  </a:lnTo>
                  <a:lnTo>
                    <a:pt x="552" y="994"/>
                  </a:lnTo>
                  <a:lnTo>
                    <a:pt x="551" y="1067"/>
                  </a:lnTo>
                  <a:lnTo>
                    <a:pt x="465" y="1206"/>
                  </a:lnTo>
                  <a:lnTo>
                    <a:pt x="479" y="1239"/>
                  </a:lnTo>
                  <a:lnTo>
                    <a:pt x="570" y="1178"/>
                  </a:lnTo>
                  <a:lnTo>
                    <a:pt x="584" y="1278"/>
                  </a:lnTo>
                  <a:lnTo>
                    <a:pt x="617" y="1293"/>
                  </a:lnTo>
                  <a:lnTo>
                    <a:pt x="693" y="1263"/>
                  </a:lnTo>
                  <a:lnTo>
                    <a:pt x="737" y="1227"/>
                  </a:lnTo>
                  <a:lnTo>
                    <a:pt x="753" y="1153"/>
                  </a:lnTo>
                  <a:lnTo>
                    <a:pt x="812" y="1131"/>
                  </a:lnTo>
                  <a:lnTo>
                    <a:pt x="887" y="1183"/>
                  </a:lnTo>
                  <a:lnTo>
                    <a:pt x="921" y="1165"/>
                  </a:lnTo>
                  <a:lnTo>
                    <a:pt x="918" y="1071"/>
                  </a:lnTo>
                  <a:lnTo>
                    <a:pt x="974" y="1049"/>
                  </a:lnTo>
                  <a:lnTo>
                    <a:pt x="1059" y="1078"/>
                  </a:lnTo>
                  <a:lnTo>
                    <a:pt x="1104" y="1047"/>
                  </a:lnTo>
                  <a:lnTo>
                    <a:pt x="1098" y="943"/>
                  </a:lnTo>
                  <a:lnTo>
                    <a:pt x="1139" y="885"/>
                  </a:lnTo>
                  <a:lnTo>
                    <a:pt x="1104" y="857"/>
                  </a:lnTo>
                  <a:lnTo>
                    <a:pt x="1119" y="786"/>
                  </a:lnTo>
                  <a:lnTo>
                    <a:pt x="1070" y="774"/>
                  </a:lnTo>
                  <a:lnTo>
                    <a:pt x="1076" y="699"/>
                  </a:lnTo>
                  <a:lnTo>
                    <a:pt x="1037" y="668"/>
                  </a:lnTo>
                  <a:lnTo>
                    <a:pt x="1049" y="598"/>
                  </a:lnTo>
                  <a:lnTo>
                    <a:pt x="991" y="584"/>
                  </a:lnTo>
                  <a:lnTo>
                    <a:pt x="1001" y="466"/>
                  </a:lnTo>
                  <a:lnTo>
                    <a:pt x="1071" y="436"/>
                  </a:lnTo>
                  <a:lnTo>
                    <a:pt x="1091" y="390"/>
                  </a:lnTo>
                  <a:lnTo>
                    <a:pt x="1096" y="331"/>
                  </a:lnTo>
                  <a:lnTo>
                    <a:pt x="1018" y="202"/>
                  </a:lnTo>
                  <a:lnTo>
                    <a:pt x="974" y="202"/>
                  </a:lnTo>
                  <a:lnTo>
                    <a:pt x="955" y="165"/>
                  </a:lnTo>
                  <a:lnTo>
                    <a:pt x="957" y="92"/>
                  </a:lnTo>
                  <a:lnTo>
                    <a:pt x="906" y="33"/>
                  </a:lnTo>
                  <a:lnTo>
                    <a:pt x="878" y="81"/>
                  </a:lnTo>
                  <a:lnTo>
                    <a:pt x="804" y="137"/>
                  </a:lnTo>
                  <a:lnTo>
                    <a:pt x="796" y="64"/>
                  </a:lnTo>
                  <a:lnTo>
                    <a:pt x="704" y="76"/>
                  </a:lnTo>
                  <a:lnTo>
                    <a:pt x="661" y="118"/>
                  </a:lnTo>
                  <a:lnTo>
                    <a:pt x="596" y="55"/>
                  </a:lnTo>
                  <a:lnTo>
                    <a:pt x="504" y="55"/>
                  </a:lnTo>
                  <a:lnTo>
                    <a:pt x="422" y="0"/>
                  </a:lnTo>
                  <a:lnTo>
                    <a:pt x="361" y="3"/>
                  </a:lnTo>
                  <a:lnTo>
                    <a:pt x="338" y="27"/>
                  </a:lnTo>
                  <a:lnTo>
                    <a:pt x="283" y="27"/>
                  </a:lnTo>
                  <a:lnTo>
                    <a:pt x="318" y="68"/>
                  </a:lnTo>
                  <a:lnTo>
                    <a:pt x="318" y="116"/>
                  </a:lnTo>
                  <a:lnTo>
                    <a:pt x="271" y="134"/>
                  </a:lnTo>
                  <a:lnTo>
                    <a:pt x="226" y="129"/>
                  </a:lnTo>
                  <a:lnTo>
                    <a:pt x="165" y="106"/>
                  </a:lnTo>
                  <a:lnTo>
                    <a:pt x="97" y="146"/>
                  </a:lnTo>
                  <a:lnTo>
                    <a:pt x="51" y="202"/>
                  </a:lnTo>
                  <a:lnTo>
                    <a:pt x="35" y="262"/>
                  </a:lnTo>
                  <a:lnTo>
                    <a:pt x="48" y="370"/>
                  </a:lnTo>
                  <a:lnTo>
                    <a:pt x="44" y="471"/>
                  </a:lnTo>
                  <a:lnTo>
                    <a:pt x="62" y="559"/>
                  </a:lnTo>
                  <a:lnTo>
                    <a:pt x="93" y="579"/>
                  </a:lnTo>
                  <a:lnTo>
                    <a:pt x="93" y="640"/>
                  </a:lnTo>
                  <a:lnTo>
                    <a:pt x="18" y="688"/>
                  </a:lnTo>
                  <a:lnTo>
                    <a:pt x="0" y="754"/>
                  </a:lnTo>
                  <a:lnTo>
                    <a:pt x="126" y="742"/>
                  </a:lnTo>
                  <a:lnTo>
                    <a:pt x="135" y="780"/>
                  </a:lnTo>
                  <a:lnTo>
                    <a:pt x="93" y="825"/>
                  </a:lnTo>
                  <a:lnTo>
                    <a:pt x="100" y="925"/>
                  </a:lnTo>
                  <a:lnTo>
                    <a:pt x="135" y="997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36" name="Freeform 114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5204" y="2878"/>
              <a:ext cx="260" cy="358"/>
            </a:xfrm>
            <a:custGeom>
              <a:avLst/>
              <a:gdLst>
                <a:gd name="T0" fmla="*/ 539 w 993"/>
                <a:gd name="T1" fmla="*/ 1162 h 1351"/>
                <a:gd name="T2" fmla="*/ 572 w 993"/>
                <a:gd name="T3" fmla="*/ 1005 h 1351"/>
                <a:gd name="T4" fmla="*/ 637 w 993"/>
                <a:gd name="T5" fmla="*/ 910 h 1351"/>
                <a:gd name="T6" fmla="*/ 668 w 993"/>
                <a:gd name="T7" fmla="*/ 852 h 1351"/>
                <a:gd name="T8" fmla="*/ 645 w 993"/>
                <a:gd name="T9" fmla="*/ 735 h 1351"/>
                <a:gd name="T10" fmla="*/ 729 w 993"/>
                <a:gd name="T11" fmla="*/ 673 h 1351"/>
                <a:gd name="T12" fmla="*/ 767 w 993"/>
                <a:gd name="T13" fmla="*/ 558 h 1351"/>
                <a:gd name="T14" fmla="*/ 853 w 993"/>
                <a:gd name="T15" fmla="*/ 477 h 1351"/>
                <a:gd name="T16" fmla="*/ 993 w 993"/>
                <a:gd name="T17" fmla="*/ 351 h 1351"/>
                <a:gd name="T18" fmla="*/ 907 w 993"/>
                <a:gd name="T19" fmla="*/ 200 h 1351"/>
                <a:gd name="T20" fmla="*/ 863 w 993"/>
                <a:gd name="T21" fmla="*/ 144 h 1351"/>
                <a:gd name="T22" fmla="*/ 862 w 993"/>
                <a:gd name="T23" fmla="*/ 66 h 1351"/>
                <a:gd name="T24" fmla="*/ 721 w 993"/>
                <a:gd name="T25" fmla="*/ 24 h 1351"/>
                <a:gd name="T26" fmla="*/ 645 w 993"/>
                <a:gd name="T27" fmla="*/ 90 h 1351"/>
                <a:gd name="T28" fmla="*/ 613 w 993"/>
                <a:gd name="T29" fmla="*/ 59 h 1351"/>
                <a:gd name="T30" fmla="*/ 552 w 993"/>
                <a:gd name="T31" fmla="*/ 27 h 1351"/>
                <a:gd name="T32" fmla="*/ 453 w 993"/>
                <a:gd name="T33" fmla="*/ 67 h 1351"/>
                <a:gd name="T34" fmla="*/ 306 w 993"/>
                <a:gd name="T35" fmla="*/ 139 h 1351"/>
                <a:gd name="T36" fmla="*/ 202 w 993"/>
                <a:gd name="T37" fmla="*/ 218 h 1351"/>
                <a:gd name="T38" fmla="*/ 80 w 993"/>
                <a:gd name="T39" fmla="*/ 267 h 1351"/>
                <a:gd name="T40" fmla="*/ 27 w 993"/>
                <a:gd name="T41" fmla="*/ 291 h 1351"/>
                <a:gd name="T42" fmla="*/ 98 w 993"/>
                <a:gd name="T43" fmla="*/ 478 h 1351"/>
                <a:gd name="T44" fmla="*/ 9 w 993"/>
                <a:gd name="T45" fmla="*/ 556 h 1351"/>
                <a:gd name="T46" fmla="*/ 57 w 993"/>
                <a:gd name="T47" fmla="*/ 688 h 1351"/>
                <a:gd name="T48" fmla="*/ 84 w 993"/>
                <a:gd name="T49" fmla="*/ 790 h 1351"/>
                <a:gd name="T50" fmla="*/ 127 w 993"/>
                <a:gd name="T51" fmla="*/ 876 h 1351"/>
                <a:gd name="T52" fmla="*/ 148 w 993"/>
                <a:gd name="T53" fmla="*/ 974 h 1351"/>
                <a:gd name="T54" fmla="*/ 112 w 993"/>
                <a:gd name="T55" fmla="*/ 1138 h 1351"/>
                <a:gd name="T56" fmla="*/ 257 w 993"/>
                <a:gd name="T57" fmla="*/ 1134 h 1351"/>
                <a:gd name="T58" fmla="*/ 202 w 993"/>
                <a:gd name="T59" fmla="*/ 1311 h 1351"/>
                <a:gd name="T60" fmla="*/ 307 w 993"/>
                <a:gd name="T61" fmla="*/ 1339 h 1351"/>
                <a:gd name="T62" fmla="*/ 473 w 993"/>
                <a:gd name="T63" fmla="*/ 1248 h 1351"/>
                <a:gd name="T64" fmla="*/ 564 w 993"/>
                <a:gd name="T65" fmla="*/ 1290 h 135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993"/>
                <a:gd name="T100" fmla="*/ 0 h 1351"/>
                <a:gd name="T101" fmla="*/ 993 w 993"/>
                <a:gd name="T102" fmla="*/ 1351 h 135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993" h="1351">
                  <a:moveTo>
                    <a:pt x="572" y="1211"/>
                  </a:moveTo>
                  <a:lnTo>
                    <a:pt x="539" y="1162"/>
                  </a:lnTo>
                  <a:lnTo>
                    <a:pt x="572" y="1126"/>
                  </a:lnTo>
                  <a:lnTo>
                    <a:pt x="572" y="1005"/>
                  </a:lnTo>
                  <a:lnTo>
                    <a:pt x="626" y="962"/>
                  </a:lnTo>
                  <a:lnTo>
                    <a:pt x="637" y="910"/>
                  </a:lnTo>
                  <a:lnTo>
                    <a:pt x="614" y="862"/>
                  </a:lnTo>
                  <a:lnTo>
                    <a:pt x="668" y="852"/>
                  </a:lnTo>
                  <a:lnTo>
                    <a:pt x="637" y="794"/>
                  </a:lnTo>
                  <a:lnTo>
                    <a:pt x="645" y="735"/>
                  </a:lnTo>
                  <a:lnTo>
                    <a:pt x="686" y="699"/>
                  </a:lnTo>
                  <a:lnTo>
                    <a:pt x="729" y="673"/>
                  </a:lnTo>
                  <a:lnTo>
                    <a:pt x="741" y="574"/>
                  </a:lnTo>
                  <a:lnTo>
                    <a:pt x="767" y="558"/>
                  </a:lnTo>
                  <a:lnTo>
                    <a:pt x="771" y="481"/>
                  </a:lnTo>
                  <a:lnTo>
                    <a:pt x="853" y="477"/>
                  </a:lnTo>
                  <a:lnTo>
                    <a:pt x="968" y="417"/>
                  </a:lnTo>
                  <a:lnTo>
                    <a:pt x="993" y="351"/>
                  </a:lnTo>
                  <a:lnTo>
                    <a:pt x="975" y="265"/>
                  </a:lnTo>
                  <a:lnTo>
                    <a:pt x="907" y="200"/>
                  </a:lnTo>
                  <a:lnTo>
                    <a:pt x="862" y="186"/>
                  </a:lnTo>
                  <a:lnTo>
                    <a:pt x="863" y="144"/>
                  </a:lnTo>
                  <a:lnTo>
                    <a:pt x="884" y="104"/>
                  </a:lnTo>
                  <a:lnTo>
                    <a:pt x="862" y="66"/>
                  </a:lnTo>
                  <a:lnTo>
                    <a:pt x="760" y="61"/>
                  </a:lnTo>
                  <a:lnTo>
                    <a:pt x="721" y="24"/>
                  </a:lnTo>
                  <a:lnTo>
                    <a:pt x="669" y="24"/>
                  </a:lnTo>
                  <a:lnTo>
                    <a:pt x="645" y="90"/>
                  </a:lnTo>
                  <a:lnTo>
                    <a:pt x="595" y="97"/>
                  </a:lnTo>
                  <a:lnTo>
                    <a:pt x="613" y="59"/>
                  </a:lnTo>
                  <a:lnTo>
                    <a:pt x="613" y="0"/>
                  </a:lnTo>
                  <a:lnTo>
                    <a:pt x="552" y="27"/>
                  </a:lnTo>
                  <a:lnTo>
                    <a:pt x="504" y="67"/>
                  </a:lnTo>
                  <a:lnTo>
                    <a:pt x="453" y="67"/>
                  </a:lnTo>
                  <a:lnTo>
                    <a:pt x="352" y="70"/>
                  </a:lnTo>
                  <a:lnTo>
                    <a:pt x="306" y="139"/>
                  </a:lnTo>
                  <a:lnTo>
                    <a:pt x="247" y="145"/>
                  </a:lnTo>
                  <a:lnTo>
                    <a:pt x="202" y="218"/>
                  </a:lnTo>
                  <a:lnTo>
                    <a:pt x="104" y="208"/>
                  </a:lnTo>
                  <a:lnTo>
                    <a:pt x="80" y="267"/>
                  </a:lnTo>
                  <a:lnTo>
                    <a:pt x="43" y="263"/>
                  </a:lnTo>
                  <a:lnTo>
                    <a:pt x="27" y="291"/>
                  </a:lnTo>
                  <a:lnTo>
                    <a:pt x="105" y="422"/>
                  </a:lnTo>
                  <a:lnTo>
                    <a:pt x="98" y="478"/>
                  </a:lnTo>
                  <a:lnTo>
                    <a:pt x="81" y="526"/>
                  </a:lnTo>
                  <a:lnTo>
                    <a:pt x="9" y="556"/>
                  </a:lnTo>
                  <a:lnTo>
                    <a:pt x="0" y="675"/>
                  </a:lnTo>
                  <a:lnTo>
                    <a:pt x="57" y="688"/>
                  </a:lnTo>
                  <a:lnTo>
                    <a:pt x="45" y="757"/>
                  </a:lnTo>
                  <a:lnTo>
                    <a:pt x="84" y="790"/>
                  </a:lnTo>
                  <a:lnTo>
                    <a:pt x="78" y="864"/>
                  </a:lnTo>
                  <a:lnTo>
                    <a:pt x="127" y="876"/>
                  </a:lnTo>
                  <a:lnTo>
                    <a:pt x="112" y="949"/>
                  </a:lnTo>
                  <a:lnTo>
                    <a:pt x="148" y="974"/>
                  </a:lnTo>
                  <a:lnTo>
                    <a:pt x="106" y="1032"/>
                  </a:lnTo>
                  <a:lnTo>
                    <a:pt x="112" y="1138"/>
                  </a:lnTo>
                  <a:lnTo>
                    <a:pt x="171" y="1185"/>
                  </a:lnTo>
                  <a:lnTo>
                    <a:pt x="257" y="1134"/>
                  </a:lnTo>
                  <a:lnTo>
                    <a:pt x="283" y="1188"/>
                  </a:lnTo>
                  <a:lnTo>
                    <a:pt x="202" y="1311"/>
                  </a:lnTo>
                  <a:lnTo>
                    <a:pt x="244" y="1351"/>
                  </a:lnTo>
                  <a:lnTo>
                    <a:pt x="307" y="1339"/>
                  </a:lnTo>
                  <a:lnTo>
                    <a:pt x="382" y="1287"/>
                  </a:lnTo>
                  <a:lnTo>
                    <a:pt x="473" y="1248"/>
                  </a:lnTo>
                  <a:lnTo>
                    <a:pt x="520" y="1303"/>
                  </a:lnTo>
                  <a:lnTo>
                    <a:pt x="564" y="1290"/>
                  </a:lnTo>
                  <a:lnTo>
                    <a:pt x="572" y="1211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37" name="Freeform 115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4908" y="2717"/>
              <a:ext cx="415" cy="255"/>
            </a:xfrm>
            <a:custGeom>
              <a:avLst/>
              <a:gdLst>
                <a:gd name="T0" fmla="*/ 1163 w 1575"/>
                <a:gd name="T1" fmla="*/ 876 h 962"/>
                <a:gd name="T2" fmla="*/ 1104 w 1575"/>
                <a:gd name="T3" fmla="*/ 904 h 962"/>
                <a:gd name="T4" fmla="*/ 1086 w 1575"/>
                <a:gd name="T5" fmla="*/ 794 h 962"/>
                <a:gd name="T6" fmla="*/ 1007 w 1575"/>
                <a:gd name="T7" fmla="*/ 783 h 962"/>
                <a:gd name="T8" fmla="*/ 925 w 1575"/>
                <a:gd name="T9" fmla="*/ 766 h 962"/>
                <a:gd name="T10" fmla="*/ 790 w 1575"/>
                <a:gd name="T11" fmla="*/ 821 h 962"/>
                <a:gd name="T12" fmla="*/ 633 w 1575"/>
                <a:gd name="T13" fmla="*/ 757 h 962"/>
                <a:gd name="T14" fmla="*/ 490 w 1575"/>
                <a:gd name="T15" fmla="*/ 705 h 962"/>
                <a:gd name="T16" fmla="*/ 412 w 1575"/>
                <a:gd name="T17" fmla="*/ 729 h 962"/>
                <a:gd name="T18" fmla="*/ 447 w 1575"/>
                <a:gd name="T19" fmla="*/ 818 h 962"/>
                <a:gd name="T20" fmla="*/ 356 w 1575"/>
                <a:gd name="T21" fmla="*/ 831 h 962"/>
                <a:gd name="T22" fmla="*/ 226 w 1575"/>
                <a:gd name="T23" fmla="*/ 849 h 962"/>
                <a:gd name="T24" fmla="*/ 164 w 1575"/>
                <a:gd name="T25" fmla="*/ 962 h 962"/>
                <a:gd name="T26" fmla="*/ 27 w 1575"/>
                <a:gd name="T27" fmla="*/ 828 h 962"/>
                <a:gd name="T28" fmla="*/ 12 w 1575"/>
                <a:gd name="T29" fmla="*/ 642 h 962"/>
                <a:gd name="T30" fmla="*/ 92 w 1575"/>
                <a:gd name="T31" fmla="*/ 616 h 962"/>
                <a:gd name="T32" fmla="*/ 213 w 1575"/>
                <a:gd name="T33" fmla="*/ 591 h 962"/>
                <a:gd name="T34" fmla="*/ 326 w 1575"/>
                <a:gd name="T35" fmla="*/ 543 h 962"/>
                <a:gd name="T36" fmla="*/ 326 w 1575"/>
                <a:gd name="T37" fmla="*/ 405 h 962"/>
                <a:gd name="T38" fmla="*/ 272 w 1575"/>
                <a:gd name="T39" fmla="*/ 322 h 962"/>
                <a:gd name="T40" fmla="*/ 180 w 1575"/>
                <a:gd name="T41" fmla="*/ 176 h 962"/>
                <a:gd name="T42" fmla="*/ 299 w 1575"/>
                <a:gd name="T43" fmla="*/ 128 h 962"/>
                <a:gd name="T44" fmla="*/ 319 w 1575"/>
                <a:gd name="T45" fmla="*/ 24 h 962"/>
                <a:gd name="T46" fmla="*/ 600 w 1575"/>
                <a:gd name="T47" fmla="*/ 133 h 962"/>
                <a:gd name="T48" fmla="*/ 744 w 1575"/>
                <a:gd name="T49" fmla="*/ 181 h 962"/>
                <a:gd name="T50" fmla="*/ 926 w 1575"/>
                <a:gd name="T51" fmla="*/ 135 h 962"/>
                <a:gd name="T52" fmla="*/ 1026 w 1575"/>
                <a:gd name="T53" fmla="*/ 126 h 962"/>
                <a:gd name="T54" fmla="*/ 1098 w 1575"/>
                <a:gd name="T55" fmla="*/ 267 h 962"/>
                <a:gd name="T56" fmla="*/ 1197 w 1575"/>
                <a:gd name="T57" fmla="*/ 275 h 962"/>
                <a:gd name="T58" fmla="*/ 1325 w 1575"/>
                <a:gd name="T59" fmla="*/ 324 h 962"/>
                <a:gd name="T60" fmla="*/ 1386 w 1575"/>
                <a:gd name="T61" fmla="*/ 319 h 962"/>
                <a:gd name="T62" fmla="*/ 1502 w 1575"/>
                <a:gd name="T63" fmla="*/ 376 h 962"/>
                <a:gd name="T64" fmla="*/ 1494 w 1575"/>
                <a:gd name="T65" fmla="*/ 456 h 962"/>
                <a:gd name="T66" fmla="*/ 1568 w 1575"/>
                <a:gd name="T67" fmla="*/ 591 h 962"/>
                <a:gd name="T68" fmla="*/ 1473 w 1575"/>
                <a:gd name="T69" fmla="*/ 682 h 962"/>
                <a:gd name="T70" fmla="*/ 1368 w 1575"/>
                <a:gd name="T71" fmla="*/ 757 h 962"/>
                <a:gd name="T72" fmla="*/ 1226 w 1575"/>
                <a:gd name="T73" fmla="*/ 820 h 9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75"/>
                <a:gd name="T112" fmla="*/ 0 h 962"/>
                <a:gd name="T113" fmla="*/ 1575 w 1575"/>
                <a:gd name="T114" fmla="*/ 962 h 9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75" h="962">
                  <a:moveTo>
                    <a:pt x="1202" y="879"/>
                  </a:moveTo>
                  <a:lnTo>
                    <a:pt x="1163" y="876"/>
                  </a:lnTo>
                  <a:lnTo>
                    <a:pt x="1149" y="904"/>
                  </a:lnTo>
                  <a:lnTo>
                    <a:pt x="1104" y="904"/>
                  </a:lnTo>
                  <a:lnTo>
                    <a:pt x="1084" y="868"/>
                  </a:lnTo>
                  <a:lnTo>
                    <a:pt x="1086" y="794"/>
                  </a:lnTo>
                  <a:lnTo>
                    <a:pt x="1035" y="735"/>
                  </a:lnTo>
                  <a:lnTo>
                    <a:pt x="1007" y="783"/>
                  </a:lnTo>
                  <a:lnTo>
                    <a:pt x="933" y="840"/>
                  </a:lnTo>
                  <a:lnTo>
                    <a:pt x="925" y="766"/>
                  </a:lnTo>
                  <a:lnTo>
                    <a:pt x="833" y="778"/>
                  </a:lnTo>
                  <a:lnTo>
                    <a:pt x="790" y="821"/>
                  </a:lnTo>
                  <a:lnTo>
                    <a:pt x="725" y="757"/>
                  </a:lnTo>
                  <a:lnTo>
                    <a:pt x="633" y="757"/>
                  </a:lnTo>
                  <a:lnTo>
                    <a:pt x="552" y="702"/>
                  </a:lnTo>
                  <a:lnTo>
                    <a:pt x="490" y="705"/>
                  </a:lnTo>
                  <a:lnTo>
                    <a:pt x="467" y="729"/>
                  </a:lnTo>
                  <a:lnTo>
                    <a:pt x="412" y="729"/>
                  </a:lnTo>
                  <a:lnTo>
                    <a:pt x="447" y="770"/>
                  </a:lnTo>
                  <a:lnTo>
                    <a:pt x="447" y="818"/>
                  </a:lnTo>
                  <a:lnTo>
                    <a:pt x="400" y="837"/>
                  </a:lnTo>
                  <a:lnTo>
                    <a:pt x="356" y="831"/>
                  </a:lnTo>
                  <a:lnTo>
                    <a:pt x="296" y="808"/>
                  </a:lnTo>
                  <a:lnTo>
                    <a:pt x="226" y="849"/>
                  </a:lnTo>
                  <a:lnTo>
                    <a:pt x="180" y="905"/>
                  </a:lnTo>
                  <a:lnTo>
                    <a:pt x="164" y="962"/>
                  </a:lnTo>
                  <a:lnTo>
                    <a:pt x="86" y="862"/>
                  </a:lnTo>
                  <a:lnTo>
                    <a:pt x="27" y="828"/>
                  </a:lnTo>
                  <a:lnTo>
                    <a:pt x="0" y="696"/>
                  </a:lnTo>
                  <a:lnTo>
                    <a:pt x="12" y="642"/>
                  </a:lnTo>
                  <a:lnTo>
                    <a:pt x="71" y="649"/>
                  </a:lnTo>
                  <a:lnTo>
                    <a:pt x="92" y="616"/>
                  </a:lnTo>
                  <a:lnTo>
                    <a:pt x="167" y="646"/>
                  </a:lnTo>
                  <a:lnTo>
                    <a:pt x="213" y="591"/>
                  </a:lnTo>
                  <a:lnTo>
                    <a:pt x="273" y="544"/>
                  </a:lnTo>
                  <a:lnTo>
                    <a:pt x="326" y="543"/>
                  </a:lnTo>
                  <a:lnTo>
                    <a:pt x="345" y="477"/>
                  </a:lnTo>
                  <a:lnTo>
                    <a:pt x="326" y="405"/>
                  </a:lnTo>
                  <a:lnTo>
                    <a:pt x="278" y="379"/>
                  </a:lnTo>
                  <a:lnTo>
                    <a:pt x="272" y="322"/>
                  </a:lnTo>
                  <a:lnTo>
                    <a:pt x="198" y="330"/>
                  </a:lnTo>
                  <a:lnTo>
                    <a:pt x="180" y="176"/>
                  </a:lnTo>
                  <a:lnTo>
                    <a:pt x="221" y="144"/>
                  </a:lnTo>
                  <a:lnTo>
                    <a:pt x="299" y="128"/>
                  </a:lnTo>
                  <a:lnTo>
                    <a:pt x="173" y="9"/>
                  </a:lnTo>
                  <a:lnTo>
                    <a:pt x="319" y="24"/>
                  </a:lnTo>
                  <a:lnTo>
                    <a:pt x="462" y="0"/>
                  </a:lnTo>
                  <a:lnTo>
                    <a:pt x="600" y="133"/>
                  </a:lnTo>
                  <a:lnTo>
                    <a:pt x="671" y="145"/>
                  </a:lnTo>
                  <a:lnTo>
                    <a:pt x="744" y="181"/>
                  </a:lnTo>
                  <a:lnTo>
                    <a:pt x="838" y="153"/>
                  </a:lnTo>
                  <a:lnTo>
                    <a:pt x="926" y="135"/>
                  </a:lnTo>
                  <a:lnTo>
                    <a:pt x="975" y="159"/>
                  </a:lnTo>
                  <a:lnTo>
                    <a:pt x="1026" y="126"/>
                  </a:lnTo>
                  <a:lnTo>
                    <a:pt x="1042" y="205"/>
                  </a:lnTo>
                  <a:lnTo>
                    <a:pt x="1098" y="267"/>
                  </a:lnTo>
                  <a:lnTo>
                    <a:pt x="1146" y="255"/>
                  </a:lnTo>
                  <a:lnTo>
                    <a:pt x="1197" y="275"/>
                  </a:lnTo>
                  <a:lnTo>
                    <a:pt x="1259" y="328"/>
                  </a:lnTo>
                  <a:lnTo>
                    <a:pt x="1325" y="324"/>
                  </a:lnTo>
                  <a:lnTo>
                    <a:pt x="1325" y="289"/>
                  </a:lnTo>
                  <a:lnTo>
                    <a:pt x="1386" y="319"/>
                  </a:lnTo>
                  <a:lnTo>
                    <a:pt x="1446" y="376"/>
                  </a:lnTo>
                  <a:lnTo>
                    <a:pt x="1502" y="376"/>
                  </a:lnTo>
                  <a:lnTo>
                    <a:pt x="1538" y="401"/>
                  </a:lnTo>
                  <a:lnTo>
                    <a:pt x="1494" y="456"/>
                  </a:lnTo>
                  <a:lnTo>
                    <a:pt x="1501" y="508"/>
                  </a:lnTo>
                  <a:lnTo>
                    <a:pt x="1568" y="591"/>
                  </a:lnTo>
                  <a:lnTo>
                    <a:pt x="1575" y="679"/>
                  </a:lnTo>
                  <a:lnTo>
                    <a:pt x="1473" y="682"/>
                  </a:lnTo>
                  <a:lnTo>
                    <a:pt x="1427" y="751"/>
                  </a:lnTo>
                  <a:lnTo>
                    <a:pt x="1368" y="757"/>
                  </a:lnTo>
                  <a:lnTo>
                    <a:pt x="1323" y="831"/>
                  </a:lnTo>
                  <a:lnTo>
                    <a:pt x="1226" y="820"/>
                  </a:lnTo>
                  <a:lnTo>
                    <a:pt x="1202" y="87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38" name="Freeform 116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5610" y="3129"/>
              <a:ext cx="85" cy="208"/>
            </a:xfrm>
            <a:custGeom>
              <a:avLst/>
              <a:gdLst>
                <a:gd name="T0" fmla="*/ 101 w 159"/>
                <a:gd name="T1" fmla="*/ 0 h 383"/>
                <a:gd name="T2" fmla="*/ 120 w 159"/>
                <a:gd name="T3" fmla="*/ 8 h 383"/>
                <a:gd name="T4" fmla="*/ 135 w 159"/>
                <a:gd name="T5" fmla="*/ 5 h 383"/>
                <a:gd name="T6" fmla="*/ 135 w 159"/>
                <a:gd name="T7" fmla="*/ 22 h 383"/>
                <a:gd name="T8" fmla="*/ 148 w 159"/>
                <a:gd name="T9" fmla="*/ 20 h 383"/>
                <a:gd name="T10" fmla="*/ 144 w 159"/>
                <a:gd name="T11" fmla="*/ 53 h 383"/>
                <a:gd name="T12" fmla="*/ 159 w 159"/>
                <a:gd name="T13" fmla="*/ 67 h 383"/>
                <a:gd name="T14" fmla="*/ 159 w 159"/>
                <a:gd name="T15" fmla="*/ 97 h 383"/>
                <a:gd name="T16" fmla="*/ 147 w 159"/>
                <a:gd name="T17" fmla="*/ 104 h 383"/>
                <a:gd name="T18" fmla="*/ 144 w 159"/>
                <a:gd name="T19" fmla="*/ 122 h 383"/>
                <a:gd name="T20" fmla="*/ 150 w 159"/>
                <a:gd name="T21" fmla="*/ 139 h 383"/>
                <a:gd name="T22" fmla="*/ 144 w 159"/>
                <a:gd name="T23" fmla="*/ 175 h 383"/>
                <a:gd name="T24" fmla="*/ 135 w 159"/>
                <a:gd name="T25" fmla="*/ 191 h 383"/>
                <a:gd name="T26" fmla="*/ 142 w 159"/>
                <a:gd name="T27" fmla="*/ 208 h 383"/>
                <a:gd name="T28" fmla="*/ 132 w 159"/>
                <a:gd name="T29" fmla="*/ 214 h 383"/>
                <a:gd name="T30" fmla="*/ 136 w 159"/>
                <a:gd name="T31" fmla="*/ 233 h 383"/>
                <a:gd name="T32" fmla="*/ 133 w 159"/>
                <a:gd name="T33" fmla="*/ 262 h 383"/>
                <a:gd name="T34" fmla="*/ 118 w 159"/>
                <a:gd name="T35" fmla="*/ 271 h 383"/>
                <a:gd name="T36" fmla="*/ 120 w 159"/>
                <a:gd name="T37" fmla="*/ 293 h 383"/>
                <a:gd name="T38" fmla="*/ 106 w 159"/>
                <a:gd name="T39" fmla="*/ 295 h 383"/>
                <a:gd name="T40" fmla="*/ 108 w 159"/>
                <a:gd name="T41" fmla="*/ 313 h 383"/>
                <a:gd name="T42" fmla="*/ 91 w 159"/>
                <a:gd name="T43" fmla="*/ 322 h 383"/>
                <a:gd name="T44" fmla="*/ 96 w 159"/>
                <a:gd name="T45" fmla="*/ 335 h 383"/>
                <a:gd name="T46" fmla="*/ 99 w 159"/>
                <a:gd name="T47" fmla="*/ 356 h 383"/>
                <a:gd name="T48" fmla="*/ 93 w 159"/>
                <a:gd name="T49" fmla="*/ 383 h 383"/>
                <a:gd name="T50" fmla="*/ 75 w 159"/>
                <a:gd name="T51" fmla="*/ 379 h 383"/>
                <a:gd name="T52" fmla="*/ 75 w 159"/>
                <a:gd name="T53" fmla="*/ 361 h 383"/>
                <a:gd name="T54" fmla="*/ 64 w 159"/>
                <a:gd name="T55" fmla="*/ 343 h 383"/>
                <a:gd name="T56" fmla="*/ 45 w 159"/>
                <a:gd name="T57" fmla="*/ 329 h 383"/>
                <a:gd name="T58" fmla="*/ 28 w 159"/>
                <a:gd name="T59" fmla="*/ 334 h 383"/>
                <a:gd name="T60" fmla="*/ 31 w 159"/>
                <a:gd name="T61" fmla="*/ 316 h 383"/>
                <a:gd name="T62" fmla="*/ 18 w 159"/>
                <a:gd name="T63" fmla="*/ 311 h 383"/>
                <a:gd name="T64" fmla="*/ 19 w 159"/>
                <a:gd name="T65" fmla="*/ 281 h 383"/>
                <a:gd name="T66" fmla="*/ 6 w 159"/>
                <a:gd name="T67" fmla="*/ 278 h 383"/>
                <a:gd name="T68" fmla="*/ 4 w 159"/>
                <a:gd name="T69" fmla="*/ 241 h 383"/>
                <a:gd name="T70" fmla="*/ 7 w 159"/>
                <a:gd name="T71" fmla="*/ 205 h 383"/>
                <a:gd name="T72" fmla="*/ 0 w 159"/>
                <a:gd name="T73" fmla="*/ 184 h 383"/>
                <a:gd name="T74" fmla="*/ 18 w 159"/>
                <a:gd name="T75" fmla="*/ 163 h 383"/>
                <a:gd name="T76" fmla="*/ 16 w 159"/>
                <a:gd name="T77" fmla="*/ 139 h 383"/>
                <a:gd name="T78" fmla="*/ 30 w 159"/>
                <a:gd name="T79" fmla="*/ 128 h 383"/>
                <a:gd name="T80" fmla="*/ 31 w 159"/>
                <a:gd name="T81" fmla="*/ 110 h 383"/>
                <a:gd name="T82" fmla="*/ 40 w 159"/>
                <a:gd name="T83" fmla="*/ 88 h 383"/>
                <a:gd name="T84" fmla="*/ 51 w 159"/>
                <a:gd name="T85" fmla="*/ 71 h 383"/>
                <a:gd name="T86" fmla="*/ 54 w 159"/>
                <a:gd name="T87" fmla="*/ 46 h 383"/>
                <a:gd name="T88" fmla="*/ 63 w 159"/>
                <a:gd name="T89" fmla="*/ 29 h 383"/>
                <a:gd name="T90" fmla="*/ 85 w 159"/>
                <a:gd name="T91" fmla="*/ 28 h 383"/>
                <a:gd name="T92" fmla="*/ 101 w 159"/>
                <a:gd name="T93" fmla="*/ 0 h 38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9"/>
                <a:gd name="T142" fmla="*/ 0 h 383"/>
                <a:gd name="T143" fmla="*/ 159 w 159"/>
                <a:gd name="T144" fmla="*/ 383 h 38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9" h="383">
                  <a:moveTo>
                    <a:pt x="101" y="0"/>
                  </a:moveTo>
                  <a:lnTo>
                    <a:pt x="120" y="8"/>
                  </a:lnTo>
                  <a:lnTo>
                    <a:pt x="135" y="5"/>
                  </a:lnTo>
                  <a:lnTo>
                    <a:pt x="135" y="22"/>
                  </a:lnTo>
                  <a:lnTo>
                    <a:pt x="148" y="20"/>
                  </a:lnTo>
                  <a:lnTo>
                    <a:pt x="144" y="53"/>
                  </a:lnTo>
                  <a:lnTo>
                    <a:pt x="159" y="67"/>
                  </a:lnTo>
                  <a:lnTo>
                    <a:pt x="159" y="97"/>
                  </a:lnTo>
                  <a:lnTo>
                    <a:pt x="147" y="104"/>
                  </a:lnTo>
                  <a:lnTo>
                    <a:pt x="144" y="122"/>
                  </a:lnTo>
                  <a:lnTo>
                    <a:pt x="150" y="139"/>
                  </a:lnTo>
                  <a:lnTo>
                    <a:pt x="144" y="175"/>
                  </a:lnTo>
                  <a:lnTo>
                    <a:pt x="135" y="191"/>
                  </a:lnTo>
                  <a:lnTo>
                    <a:pt x="142" y="208"/>
                  </a:lnTo>
                  <a:lnTo>
                    <a:pt x="132" y="214"/>
                  </a:lnTo>
                  <a:lnTo>
                    <a:pt x="136" y="233"/>
                  </a:lnTo>
                  <a:lnTo>
                    <a:pt x="133" y="262"/>
                  </a:lnTo>
                  <a:lnTo>
                    <a:pt x="118" y="271"/>
                  </a:lnTo>
                  <a:lnTo>
                    <a:pt x="120" y="293"/>
                  </a:lnTo>
                  <a:lnTo>
                    <a:pt x="106" y="295"/>
                  </a:lnTo>
                  <a:lnTo>
                    <a:pt x="108" y="313"/>
                  </a:lnTo>
                  <a:lnTo>
                    <a:pt x="91" y="322"/>
                  </a:lnTo>
                  <a:lnTo>
                    <a:pt x="96" y="335"/>
                  </a:lnTo>
                  <a:lnTo>
                    <a:pt x="99" y="356"/>
                  </a:lnTo>
                  <a:lnTo>
                    <a:pt x="93" y="383"/>
                  </a:lnTo>
                  <a:lnTo>
                    <a:pt x="75" y="379"/>
                  </a:lnTo>
                  <a:lnTo>
                    <a:pt x="75" y="361"/>
                  </a:lnTo>
                  <a:lnTo>
                    <a:pt x="64" y="343"/>
                  </a:lnTo>
                  <a:lnTo>
                    <a:pt x="45" y="329"/>
                  </a:lnTo>
                  <a:lnTo>
                    <a:pt x="28" y="334"/>
                  </a:lnTo>
                  <a:lnTo>
                    <a:pt x="31" y="316"/>
                  </a:lnTo>
                  <a:lnTo>
                    <a:pt x="18" y="311"/>
                  </a:lnTo>
                  <a:lnTo>
                    <a:pt x="19" y="281"/>
                  </a:lnTo>
                  <a:lnTo>
                    <a:pt x="6" y="278"/>
                  </a:lnTo>
                  <a:lnTo>
                    <a:pt x="4" y="241"/>
                  </a:lnTo>
                  <a:lnTo>
                    <a:pt x="7" y="205"/>
                  </a:lnTo>
                  <a:lnTo>
                    <a:pt x="0" y="184"/>
                  </a:lnTo>
                  <a:lnTo>
                    <a:pt x="18" y="163"/>
                  </a:lnTo>
                  <a:lnTo>
                    <a:pt x="16" y="139"/>
                  </a:lnTo>
                  <a:lnTo>
                    <a:pt x="30" y="128"/>
                  </a:lnTo>
                  <a:lnTo>
                    <a:pt x="31" y="110"/>
                  </a:lnTo>
                  <a:lnTo>
                    <a:pt x="40" y="88"/>
                  </a:lnTo>
                  <a:lnTo>
                    <a:pt x="51" y="71"/>
                  </a:lnTo>
                  <a:lnTo>
                    <a:pt x="54" y="46"/>
                  </a:lnTo>
                  <a:lnTo>
                    <a:pt x="63" y="29"/>
                  </a:lnTo>
                  <a:lnTo>
                    <a:pt x="85" y="28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39" name="Freeform 117"/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4960" y="3534"/>
              <a:ext cx="139" cy="127"/>
            </a:xfrm>
            <a:custGeom>
              <a:avLst/>
              <a:gdLst>
                <a:gd name="T0" fmla="*/ 57 w 257"/>
                <a:gd name="T1" fmla="*/ 34 h 235"/>
                <a:gd name="T2" fmla="*/ 86 w 257"/>
                <a:gd name="T3" fmla="*/ 37 h 235"/>
                <a:gd name="T4" fmla="*/ 90 w 257"/>
                <a:gd name="T5" fmla="*/ 24 h 235"/>
                <a:gd name="T6" fmla="*/ 113 w 257"/>
                <a:gd name="T7" fmla="*/ 22 h 235"/>
                <a:gd name="T8" fmla="*/ 120 w 257"/>
                <a:gd name="T9" fmla="*/ 36 h 235"/>
                <a:gd name="T10" fmla="*/ 129 w 257"/>
                <a:gd name="T11" fmla="*/ 24 h 235"/>
                <a:gd name="T12" fmla="*/ 159 w 257"/>
                <a:gd name="T13" fmla="*/ 28 h 235"/>
                <a:gd name="T14" fmla="*/ 162 w 257"/>
                <a:gd name="T15" fmla="*/ 15 h 235"/>
                <a:gd name="T16" fmla="*/ 185 w 257"/>
                <a:gd name="T17" fmla="*/ 13 h 235"/>
                <a:gd name="T18" fmla="*/ 188 w 257"/>
                <a:gd name="T19" fmla="*/ 33 h 235"/>
                <a:gd name="T20" fmla="*/ 197 w 257"/>
                <a:gd name="T21" fmla="*/ 37 h 235"/>
                <a:gd name="T22" fmla="*/ 206 w 257"/>
                <a:gd name="T23" fmla="*/ 30 h 235"/>
                <a:gd name="T24" fmla="*/ 207 w 257"/>
                <a:gd name="T25" fmla="*/ 9 h 235"/>
                <a:gd name="T26" fmla="*/ 224 w 257"/>
                <a:gd name="T27" fmla="*/ 0 h 235"/>
                <a:gd name="T28" fmla="*/ 236 w 257"/>
                <a:gd name="T29" fmla="*/ 15 h 235"/>
                <a:gd name="T30" fmla="*/ 257 w 257"/>
                <a:gd name="T31" fmla="*/ 21 h 235"/>
                <a:gd name="T32" fmla="*/ 252 w 257"/>
                <a:gd name="T33" fmla="*/ 52 h 235"/>
                <a:gd name="T34" fmla="*/ 231 w 257"/>
                <a:gd name="T35" fmla="*/ 75 h 235"/>
                <a:gd name="T36" fmla="*/ 219 w 257"/>
                <a:gd name="T37" fmla="*/ 88 h 235"/>
                <a:gd name="T38" fmla="*/ 230 w 257"/>
                <a:gd name="T39" fmla="*/ 100 h 235"/>
                <a:gd name="T40" fmla="*/ 215 w 257"/>
                <a:gd name="T41" fmla="*/ 111 h 235"/>
                <a:gd name="T42" fmla="*/ 200 w 257"/>
                <a:gd name="T43" fmla="*/ 118 h 235"/>
                <a:gd name="T44" fmla="*/ 212 w 257"/>
                <a:gd name="T45" fmla="*/ 126 h 235"/>
                <a:gd name="T46" fmla="*/ 216 w 257"/>
                <a:gd name="T47" fmla="*/ 156 h 235"/>
                <a:gd name="T48" fmla="*/ 203 w 257"/>
                <a:gd name="T49" fmla="*/ 160 h 235"/>
                <a:gd name="T50" fmla="*/ 203 w 257"/>
                <a:gd name="T51" fmla="*/ 177 h 235"/>
                <a:gd name="T52" fmla="*/ 177 w 257"/>
                <a:gd name="T53" fmla="*/ 175 h 235"/>
                <a:gd name="T54" fmla="*/ 179 w 257"/>
                <a:gd name="T55" fmla="*/ 192 h 235"/>
                <a:gd name="T56" fmla="*/ 167 w 257"/>
                <a:gd name="T57" fmla="*/ 190 h 235"/>
                <a:gd name="T58" fmla="*/ 164 w 257"/>
                <a:gd name="T59" fmla="*/ 211 h 235"/>
                <a:gd name="T60" fmla="*/ 147 w 257"/>
                <a:gd name="T61" fmla="*/ 205 h 235"/>
                <a:gd name="T62" fmla="*/ 129 w 257"/>
                <a:gd name="T63" fmla="*/ 211 h 235"/>
                <a:gd name="T64" fmla="*/ 128 w 257"/>
                <a:gd name="T65" fmla="*/ 235 h 235"/>
                <a:gd name="T66" fmla="*/ 104 w 257"/>
                <a:gd name="T67" fmla="*/ 235 h 235"/>
                <a:gd name="T68" fmla="*/ 96 w 257"/>
                <a:gd name="T69" fmla="*/ 220 h 235"/>
                <a:gd name="T70" fmla="*/ 60 w 257"/>
                <a:gd name="T71" fmla="*/ 222 h 235"/>
                <a:gd name="T72" fmla="*/ 39 w 257"/>
                <a:gd name="T73" fmla="*/ 222 h 235"/>
                <a:gd name="T74" fmla="*/ 29 w 257"/>
                <a:gd name="T75" fmla="*/ 201 h 235"/>
                <a:gd name="T76" fmla="*/ 12 w 257"/>
                <a:gd name="T77" fmla="*/ 199 h 235"/>
                <a:gd name="T78" fmla="*/ 0 w 257"/>
                <a:gd name="T79" fmla="*/ 184 h 235"/>
                <a:gd name="T80" fmla="*/ 3 w 257"/>
                <a:gd name="T81" fmla="*/ 145 h 235"/>
                <a:gd name="T82" fmla="*/ 5 w 257"/>
                <a:gd name="T83" fmla="*/ 126 h 235"/>
                <a:gd name="T84" fmla="*/ 2 w 257"/>
                <a:gd name="T85" fmla="*/ 99 h 235"/>
                <a:gd name="T86" fmla="*/ 23 w 257"/>
                <a:gd name="T87" fmla="*/ 96 h 235"/>
                <a:gd name="T88" fmla="*/ 38 w 257"/>
                <a:gd name="T89" fmla="*/ 85 h 235"/>
                <a:gd name="T90" fmla="*/ 38 w 257"/>
                <a:gd name="T91" fmla="*/ 60 h 235"/>
                <a:gd name="T92" fmla="*/ 60 w 257"/>
                <a:gd name="T93" fmla="*/ 60 h 235"/>
                <a:gd name="T94" fmla="*/ 57 w 257"/>
                <a:gd name="T95" fmla="*/ 34 h 23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57"/>
                <a:gd name="T145" fmla="*/ 0 h 235"/>
                <a:gd name="T146" fmla="*/ 257 w 257"/>
                <a:gd name="T147" fmla="*/ 235 h 23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57" h="235">
                  <a:moveTo>
                    <a:pt x="57" y="34"/>
                  </a:moveTo>
                  <a:lnTo>
                    <a:pt x="86" y="37"/>
                  </a:lnTo>
                  <a:lnTo>
                    <a:pt x="90" y="24"/>
                  </a:lnTo>
                  <a:lnTo>
                    <a:pt x="113" y="22"/>
                  </a:lnTo>
                  <a:lnTo>
                    <a:pt x="120" y="36"/>
                  </a:lnTo>
                  <a:lnTo>
                    <a:pt x="129" y="24"/>
                  </a:lnTo>
                  <a:lnTo>
                    <a:pt x="159" y="28"/>
                  </a:lnTo>
                  <a:lnTo>
                    <a:pt x="162" y="15"/>
                  </a:lnTo>
                  <a:lnTo>
                    <a:pt x="185" y="13"/>
                  </a:lnTo>
                  <a:lnTo>
                    <a:pt x="188" y="33"/>
                  </a:lnTo>
                  <a:lnTo>
                    <a:pt x="197" y="37"/>
                  </a:lnTo>
                  <a:lnTo>
                    <a:pt x="206" y="30"/>
                  </a:lnTo>
                  <a:lnTo>
                    <a:pt x="207" y="9"/>
                  </a:lnTo>
                  <a:lnTo>
                    <a:pt x="224" y="0"/>
                  </a:lnTo>
                  <a:lnTo>
                    <a:pt x="236" y="15"/>
                  </a:lnTo>
                  <a:lnTo>
                    <a:pt x="257" y="21"/>
                  </a:lnTo>
                  <a:lnTo>
                    <a:pt x="252" y="52"/>
                  </a:lnTo>
                  <a:lnTo>
                    <a:pt x="231" y="75"/>
                  </a:lnTo>
                  <a:lnTo>
                    <a:pt x="219" y="88"/>
                  </a:lnTo>
                  <a:lnTo>
                    <a:pt x="230" y="100"/>
                  </a:lnTo>
                  <a:lnTo>
                    <a:pt x="215" y="111"/>
                  </a:lnTo>
                  <a:lnTo>
                    <a:pt x="200" y="118"/>
                  </a:lnTo>
                  <a:lnTo>
                    <a:pt x="212" y="126"/>
                  </a:lnTo>
                  <a:lnTo>
                    <a:pt x="216" y="156"/>
                  </a:lnTo>
                  <a:lnTo>
                    <a:pt x="203" y="160"/>
                  </a:lnTo>
                  <a:lnTo>
                    <a:pt x="203" y="177"/>
                  </a:lnTo>
                  <a:lnTo>
                    <a:pt x="177" y="175"/>
                  </a:lnTo>
                  <a:lnTo>
                    <a:pt x="179" y="192"/>
                  </a:lnTo>
                  <a:lnTo>
                    <a:pt x="167" y="190"/>
                  </a:lnTo>
                  <a:lnTo>
                    <a:pt x="164" y="211"/>
                  </a:lnTo>
                  <a:lnTo>
                    <a:pt x="147" y="205"/>
                  </a:lnTo>
                  <a:lnTo>
                    <a:pt x="129" y="211"/>
                  </a:lnTo>
                  <a:lnTo>
                    <a:pt x="128" y="235"/>
                  </a:lnTo>
                  <a:lnTo>
                    <a:pt x="104" y="235"/>
                  </a:lnTo>
                  <a:lnTo>
                    <a:pt x="96" y="220"/>
                  </a:lnTo>
                  <a:lnTo>
                    <a:pt x="60" y="222"/>
                  </a:lnTo>
                  <a:lnTo>
                    <a:pt x="39" y="222"/>
                  </a:lnTo>
                  <a:lnTo>
                    <a:pt x="29" y="201"/>
                  </a:lnTo>
                  <a:lnTo>
                    <a:pt x="12" y="199"/>
                  </a:lnTo>
                  <a:lnTo>
                    <a:pt x="0" y="184"/>
                  </a:lnTo>
                  <a:lnTo>
                    <a:pt x="3" y="145"/>
                  </a:lnTo>
                  <a:lnTo>
                    <a:pt x="5" y="126"/>
                  </a:lnTo>
                  <a:lnTo>
                    <a:pt x="2" y="99"/>
                  </a:lnTo>
                  <a:lnTo>
                    <a:pt x="23" y="96"/>
                  </a:lnTo>
                  <a:lnTo>
                    <a:pt x="38" y="85"/>
                  </a:lnTo>
                  <a:lnTo>
                    <a:pt x="38" y="60"/>
                  </a:lnTo>
                  <a:lnTo>
                    <a:pt x="60" y="60"/>
                  </a:lnTo>
                  <a:lnTo>
                    <a:pt x="57" y="34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64008" tIns="64008" rIns="45720" bIns="64008" anchor="ctr">
              <a:spAutoFit/>
            </a:bodyPr>
            <a:lstStyle/>
            <a:p>
              <a:endParaRPr lang="zh-CN" altLang="en-US"/>
            </a:p>
          </p:txBody>
        </p:sp>
        <p:sp>
          <p:nvSpPr>
            <p:cNvPr id="40" name="Line 118"/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gray">
            <a:xfrm>
              <a:off x="5307" y="2320"/>
              <a:ext cx="264" cy="3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endParaRPr lang="en-NZ"/>
            </a:p>
          </p:txBody>
        </p:sp>
        <p:sp>
          <p:nvSpPr>
            <p:cNvPr id="41" name="Line 119"/>
            <p:cNvSpPr>
              <a:spLocks noChangeShapeType="1"/>
            </p:cNvSpPr>
            <p:nvPr>
              <p:custDataLst>
                <p:tags r:id="rId47"/>
              </p:custDataLst>
            </p:nvPr>
          </p:nvSpPr>
          <p:spPr bwMode="gray">
            <a:xfrm flipV="1">
              <a:off x="5262" y="2255"/>
              <a:ext cx="372" cy="5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endParaRPr lang="en-NZ"/>
            </a:p>
          </p:txBody>
        </p:sp>
        <p:sp>
          <p:nvSpPr>
            <p:cNvPr id="42" name="Line 120"/>
            <p:cNvSpPr>
              <a:spLocks noChangeShapeType="1"/>
            </p:cNvSpPr>
            <p:nvPr>
              <p:custDataLst>
                <p:tags r:id="rId48"/>
              </p:custDataLst>
            </p:nvPr>
          </p:nvSpPr>
          <p:spPr bwMode="gray">
            <a:xfrm flipH="1">
              <a:off x="5589" y="2746"/>
              <a:ext cx="118" cy="2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endParaRPr lang="en-NZ"/>
            </a:p>
          </p:txBody>
        </p:sp>
        <p:sp>
          <p:nvSpPr>
            <p:cNvPr id="43" name="Rectangle 121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5564" y="1690"/>
              <a:ext cx="276" cy="12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Heilongjiang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4,100</a:t>
              </a:r>
            </a:p>
          </p:txBody>
        </p:sp>
        <p:sp>
          <p:nvSpPr>
            <p:cNvPr id="44" name="Rectangle 122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4511" y="2872"/>
              <a:ext cx="178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 dirty="0">
                  <a:solidFill>
                    <a:schemeClr val="tx1"/>
                  </a:solidFill>
                  <a:ea typeface="华文楷体" pitchFamily="2" charset="-122"/>
                </a:rPr>
                <a:t>Sichuan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 dirty="0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45" name="Rectangle 123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5648" y="1966"/>
              <a:ext cx="93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 dirty="0">
                  <a:solidFill>
                    <a:schemeClr val="tx1"/>
                  </a:solidFill>
                  <a:ea typeface="华文楷体" pitchFamily="2" charset="-122"/>
                </a:rPr>
                <a:t>Jilin</a:t>
              </a:r>
              <a:endParaRPr lang="en-US" altLang="zh-CN" sz="1500" b="1" dirty="0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46" name="Rectangle 124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5443" y="2063"/>
              <a:ext cx="233" cy="120"/>
            </a:xfrm>
            <a:prstGeom prst="rect">
              <a:avLst/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Liaoning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1,100</a:t>
              </a:r>
            </a:p>
          </p:txBody>
        </p:sp>
        <p:sp>
          <p:nvSpPr>
            <p:cNvPr id="47" name="Rectangle 125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5163" y="2325"/>
              <a:ext cx="125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bg1"/>
                  </a:solidFill>
                  <a:ea typeface="华文楷体" pitchFamily="2" charset="-122"/>
                </a:rPr>
                <a:t>Hebei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bg1"/>
                  </a:solidFill>
                  <a:ea typeface="华文楷体" pitchFamily="2" charset="-122"/>
                </a:rPr>
                <a:t>6,200</a:t>
              </a:r>
            </a:p>
          </p:txBody>
        </p:sp>
        <p:sp>
          <p:nvSpPr>
            <p:cNvPr id="48" name="Rectangle 126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5275" y="2437"/>
              <a:ext cx="224" cy="12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Shandong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3,900</a:t>
              </a:r>
            </a:p>
          </p:txBody>
        </p:sp>
        <p:sp>
          <p:nvSpPr>
            <p:cNvPr id="49" name="Rectangle 127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5388" y="3057"/>
              <a:ext cx="136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Fujian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50" name="Rectangle 128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5220" y="2978"/>
              <a:ext cx="158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Jiangxi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51" name="Rectangle 129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5042" y="2779"/>
              <a:ext cx="127" cy="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Hubei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52" name="Rectangle 130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5016" y="3012"/>
              <a:ext cx="143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Hunan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53" name="Rectangle 131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4866" y="3249"/>
              <a:ext cx="185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Guangxi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54" name="Rectangle 132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5703" y="2705"/>
              <a:ext cx="206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Shanghai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55" name="Rectangle 133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085" y="2593"/>
              <a:ext cx="139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Henan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3,600</a:t>
              </a:r>
            </a:p>
          </p:txBody>
        </p:sp>
        <p:sp>
          <p:nvSpPr>
            <p:cNvPr id="56" name="Rectangle 134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079" y="3633"/>
              <a:ext cx="153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Hainan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57" name="Rectangle 135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5055" y="2007"/>
              <a:ext cx="328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bg1"/>
                  </a:solidFill>
                  <a:ea typeface="华文楷体" pitchFamily="2" charset="-122"/>
                </a:rPr>
                <a:t>Inner Mongolia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bg1"/>
                  </a:solidFill>
                  <a:ea typeface="华文楷体" pitchFamily="2" charset="-122"/>
                </a:rPr>
                <a:t>11,200</a:t>
              </a:r>
              <a:endParaRPr lang="en-US" altLang="zh-CN" sz="1500" b="1">
                <a:solidFill>
                  <a:schemeClr val="bg1"/>
                </a:solidFill>
                <a:ea typeface="华文楷体" pitchFamily="2" charset="-122"/>
              </a:endParaRPr>
            </a:p>
          </p:txBody>
        </p:sp>
        <p:sp>
          <p:nvSpPr>
            <p:cNvPr id="58" name="Rectangle 136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4780" y="2636"/>
              <a:ext cx="214" cy="120"/>
            </a:xfrm>
            <a:prstGeom prst="rect">
              <a:avLst/>
            </a:prstGeom>
            <a:solidFill>
              <a:schemeClr val="accent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Shaanxi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1,400</a:t>
              </a:r>
            </a:p>
          </p:txBody>
        </p:sp>
        <p:sp>
          <p:nvSpPr>
            <p:cNvPr id="59" name="Rectangle 137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4667" y="2440"/>
              <a:ext cx="202" cy="12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Ningxia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800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0" name="Rectangle 138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4598" y="2599"/>
              <a:ext cx="143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Gansu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1" name="Rectangle 139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4185" y="2523"/>
              <a:ext cx="173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QinghaI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2" name="Rectangle 140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4755" y="3088"/>
              <a:ext cx="185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Guizhou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3" name="Rectangle 141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4406" y="3244"/>
              <a:ext cx="168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Yunnan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4" name="Rectangle 142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3747" y="2741"/>
              <a:ext cx="110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Tibet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5" name="Rectangle 143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3692" y="2133"/>
              <a:ext cx="218" cy="1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Xinjiang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1,700</a:t>
              </a:r>
            </a:p>
          </p:txBody>
        </p:sp>
        <p:sp>
          <p:nvSpPr>
            <p:cNvPr id="66" name="Rectangle 144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574" y="2316"/>
              <a:ext cx="149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Tianjin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800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7" name="Rectangle 145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5633" y="2243"/>
              <a:ext cx="154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Beijing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8" name="Rectangle 146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4768" y="2824"/>
              <a:ext cx="242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Chongqing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69" name="Rectangle 147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5400" y="2603"/>
              <a:ext cx="211" cy="1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Jiangsu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70" name="Rectangle 148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5416" y="2868"/>
              <a:ext cx="230" cy="120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Zhejiang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71" name="Rectangle 149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131" y="3233"/>
              <a:ext cx="257" cy="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Guangdong</a:t>
              </a:r>
            </a:p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endParaRPr lang="en-US" altLang="zh-CN" sz="7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sp>
          <p:nvSpPr>
            <p:cNvPr id="72" name="Rectangle 150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4967" y="2447"/>
              <a:ext cx="199" cy="6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Shanxi</a:t>
              </a:r>
            </a:p>
          </p:txBody>
        </p:sp>
        <p:sp>
          <p:nvSpPr>
            <p:cNvPr id="73" name="Rectangle 151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5281" y="2688"/>
              <a:ext cx="158" cy="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>
              <a:spAutoFit/>
            </a:bodyPr>
            <a:lstStyle/>
            <a:p>
              <a:pPr algn="ctr" defTabSz="977900">
                <a:lnSpc>
                  <a:spcPct val="90000"/>
                </a:lnSpc>
                <a:spcBef>
                  <a:spcPct val="0"/>
                </a:spcBef>
                <a:buSzPct val="120000"/>
                <a:buFontTx/>
                <a:buNone/>
              </a:pPr>
              <a:r>
                <a:rPr lang="en-US" altLang="zh-CN" sz="700" b="1">
                  <a:solidFill>
                    <a:schemeClr val="tx1"/>
                  </a:solidFill>
                  <a:ea typeface="华文楷体" pitchFamily="2" charset="-122"/>
                </a:rPr>
                <a:t>Anhui</a:t>
              </a:r>
              <a:endParaRPr lang="en-US" altLang="zh-CN" sz="1500" b="1">
                <a:solidFill>
                  <a:schemeClr val="tx1"/>
                </a:solidFill>
                <a:ea typeface="华文楷体" pitchFamily="2" charset="-122"/>
              </a:endParaRPr>
            </a:p>
          </p:txBody>
        </p:sp>
        <p:graphicFrame>
          <p:nvGraphicFramePr>
            <p:cNvPr id="74" name="Rectangle 152" hidden="1"/>
            <p:cNvGraphicFramePr>
              <a:graphicFrameLocks/>
            </p:cNvGraphicFramePr>
            <p:nvPr/>
          </p:nvGraphicFramePr>
          <p:xfrm>
            <a:off x="4" y="0"/>
            <a:ext cx="102" cy="102"/>
          </p:xfrm>
          <a:graphic>
            <a:graphicData uri="http://schemas.openxmlformats.org/presentationml/2006/ole">
              <p:oleObj spid="_x0000_s2050" r:id="rId81" imgW="0" imgH="0" progId="">
                <p:embed/>
              </p:oleObj>
            </a:graphicData>
          </a:graphic>
        </p:graphicFrame>
        <p:sp>
          <p:nvSpPr>
            <p:cNvPr id="75" name="Rectangle 155"/>
            <p:cNvSpPr>
              <a:spLocks noChangeArrowheads="1"/>
            </p:cNvSpPr>
            <p:nvPr/>
          </p:nvSpPr>
          <p:spPr bwMode="auto">
            <a:xfrm>
              <a:off x="3211" y="3652"/>
              <a:ext cx="1774" cy="2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266700" indent="-266700" eaLnBrk="0" hangingPunct="0">
                <a:lnSpc>
                  <a:spcPct val="100000"/>
                </a:lnSpc>
                <a:spcBef>
                  <a:spcPct val="40000"/>
                </a:spcBef>
                <a:buFont typeface="Wingdings" pitchFamily="2" charset="2"/>
                <a:buNone/>
              </a:pPr>
              <a:r>
                <a:rPr lang="en-US" altLang="zh-CN" sz="1200" dirty="0">
                  <a:ea typeface="宋体" pitchFamily="2" charset="-122"/>
                </a:rPr>
                <a:t>10 region </a:t>
              </a:r>
              <a:r>
                <a:rPr lang="en-US" altLang="zh-CN" sz="1200" dirty="0" smtClean="0">
                  <a:ea typeface="宋体" pitchFamily="2" charset="-122"/>
                </a:rPr>
                <a:t>total volume: ~ 35 </a:t>
              </a:r>
              <a:r>
                <a:rPr lang="en-US" altLang="zh-CN" sz="1200" dirty="0">
                  <a:ea typeface="宋体" pitchFamily="2" charset="-122"/>
                </a:rPr>
                <a:t>million </a:t>
              </a:r>
              <a:r>
                <a:rPr lang="en-US" altLang="zh-CN" sz="1200" dirty="0" smtClean="0">
                  <a:ea typeface="宋体" pitchFamily="2" charset="-122"/>
                </a:rPr>
                <a:t>tons</a:t>
              </a:r>
            </a:p>
            <a:p>
              <a:pPr marL="266700" indent="-266700" eaLnBrk="0" hangingPunct="0">
                <a:lnSpc>
                  <a:spcPct val="100000"/>
                </a:lnSpc>
                <a:spcBef>
                  <a:spcPct val="40000"/>
                </a:spcBef>
                <a:buFont typeface="Wingdings" pitchFamily="2" charset="2"/>
                <a:buNone/>
              </a:pPr>
              <a:r>
                <a:rPr lang="en-US" altLang="zh-CN" sz="1200" dirty="0" smtClean="0">
                  <a:ea typeface="宋体" pitchFamily="2" charset="-122"/>
                </a:rPr>
                <a:t>Total number of cows: ~ 8 million</a:t>
              </a:r>
              <a:endParaRPr lang="en-US" altLang="zh-CN" sz="1200" dirty="0">
                <a:ea typeface="宋体" pitchFamily="2" charset="-122"/>
              </a:endParaRPr>
            </a:p>
          </p:txBody>
        </p:sp>
      </p:grpSp>
      <p:grpSp>
        <p:nvGrpSpPr>
          <p:cNvPr id="86" name="Group 158"/>
          <p:cNvGrpSpPr>
            <a:grpSpLocks/>
          </p:cNvGrpSpPr>
          <p:nvPr/>
        </p:nvGrpSpPr>
        <p:grpSpPr bwMode="auto">
          <a:xfrm>
            <a:off x="7215206" y="428604"/>
            <a:ext cx="1154113" cy="742950"/>
            <a:chOff x="4916" y="1126"/>
            <a:chExt cx="727" cy="468"/>
          </a:xfrm>
        </p:grpSpPr>
        <p:sp>
          <p:nvSpPr>
            <p:cNvPr id="87" name="Legend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106" y="1479"/>
              <a:ext cx="215" cy="1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66700" indent="-266700" eaLnBrk="0" hangingPunct="0">
                <a:lnSpc>
                  <a:spcPct val="100000"/>
                </a:lnSpc>
                <a:spcBef>
                  <a:spcPct val="40000"/>
                </a:spcBef>
                <a:buFont typeface="Wingdings" pitchFamily="2" charset="2"/>
                <a:buNone/>
              </a:pPr>
              <a:r>
                <a:rPr lang="en-US" altLang="zh-CN" sz="1200" dirty="0">
                  <a:ea typeface="宋体" pitchFamily="2" charset="-122"/>
                </a:rPr>
                <a:t>&lt;800</a:t>
              </a:r>
            </a:p>
          </p:txBody>
        </p:sp>
        <p:sp>
          <p:nvSpPr>
            <p:cNvPr id="88" name="LegendRectangle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916" y="1491"/>
              <a:ext cx="149" cy="9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/>
            <a:p>
              <a:endParaRPr lang="zh-CN" altLang="en-US"/>
            </a:p>
          </p:txBody>
        </p:sp>
        <p:grpSp>
          <p:nvGrpSpPr>
            <p:cNvPr id="89" name="Group 10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4916" y="1126"/>
              <a:ext cx="727" cy="357"/>
              <a:chOff x="4414" y="36"/>
              <a:chExt cx="727" cy="357"/>
            </a:xfrm>
          </p:grpSpPr>
          <p:sp>
            <p:nvSpPr>
              <p:cNvPr id="90" name="Legend1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604" y="158"/>
                <a:ext cx="537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266700" indent="-266700" eaLnBrk="0" hangingPunct="0">
                  <a:lnSpc>
                    <a:spcPct val="100000"/>
                  </a:lnSpc>
                  <a:spcBef>
                    <a:spcPct val="40000"/>
                  </a:spcBef>
                  <a:buFont typeface="Wingdings" pitchFamily="2" charset="2"/>
                  <a:buNone/>
                </a:pPr>
                <a:r>
                  <a:rPr lang="en-US" altLang="zh-CN" sz="1200">
                    <a:ea typeface="宋体" pitchFamily="2" charset="-122"/>
                  </a:rPr>
                  <a:t>2,000 -5,000</a:t>
                </a:r>
              </a:p>
            </p:txBody>
          </p:sp>
          <p:sp>
            <p:nvSpPr>
              <p:cNvPr id="91" name="Legend2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604" y="278"/>
                <a:ext cx="430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266700" indent="-266700" eaLnBrk="0" hangingPunct="0">
                  <a:lnSpc>
                    <a:spcPct val="100000"/>
                  </a:lnSpc>
                  <a:spcBef>
                    <a:spcPct val="40000"/>
                  </a:spcBef>
                  <a:buFont typeface="Wingdings" pitchFamily="2" charset="2"/>
                  <a:buNone/>
                </a:pPr>
                <a:r>
                  <a:rPr lang="en-US" altLang="zh-CN" sz="1200">
                    <a:ea typeface="宋体" pitchFamily="2" charset="-122"/>
                  </a:rPr>
                  <a:t>800-2,000</a:t>
                </a:r>
              </a:p>
            </p:txBody>
          </p:sp>
          <p:sp>
            <p:nvSpPr>
              <p:cNvPr id="92" name="LegendRectangle1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4414" y="173"/>
                <a:ext cx="149" cy="95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zh-CN" altLang="en-US"/>
              </a:p>
            </p:txBody>
          </p:sp>
          <p:sp>
            <p:nvSpPr>
              <p:cNvPr id="93" name="LegendRectangle2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14" y="285"/>
                <a:ext cx="149" cy="95"/>
              </a:xfrm>
              <a:prstGeom prst="rect">
                <a:avLst/>
              </a:prstGeom>
              <a:solidFill>
                <a:schemeClr val="accent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zh-CN" altLang="en-US"/>
              </a:p>
            </p:txBody>
          </p:sp>
          <p:sp>
            <p:nvSpPr>
              <p:cNvPr id="94" name="LegendRectangle1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14" y="60"/>
                <a:ext cx="149" cy="95"/>
              </a:xfrm>
              <a:prstGeom prst="rect">
                <a:avLst/>
              </a:prstGeom>
              <a:solidFill>
                <a:schemeClr val="bg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endParaRPr lang="zh-CN" altLang="en-US" dirty="0"/>
              </a:p>
            </p:txBody>
          </p:sp>
          <p:sp>
            <p:nvSpPr>
              <p:cNvPr id="95" name="Legend1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596" y="36"/>
                <a:ext cx="295" cy="1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marL="266700" indent="-266700" eaLnBrk="0" hangingPunct="0">
                  <a:lnSpc>
                    <a:spcPct val="100000"/>
                  </a:lnSpc>
                  <a:spcBef>
                    <a:spcPct val="40000"/>
                  </a:spcBef>
                  <a:buFont typeface="Wingdings" pitchFamily="2" charset="2"/>
                  <a:buNone/>
                </a:pPr>
                <a:r>
                  <a:rPr lang="en-US" altLang="zh-CN" sz="1200" dirty="0">
                    <a:ea typeface="宋体" pitchFamily="2" charset="-122"/>
                  </a:rPr>
                  <a:t>&gt;5,000</a:t>
                </a: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/>
        </p:nvGraphicFramePr>
        <p:xfrm>
          <a:off x="5862" y="1"/>
          <a:ext cx="149469" cy="161925"/>
        </p:xfrm>
        <a:graphic>
          <a:graphicData uri="http://schemas.openxmlformats.org/presentationml/2006/ole">
            <p:oleObj spid="_x0000_s29698" r:id="rId5" imgW="0" imgH="0" progId="">
              <p:embed/>
            </p:oleObj>
          </a:graphicData>
        </a:graphic>
      </p:graphicFrame>
      <p:sp>
        <p:nvSpPr>
          <p:cNvPr id="2054" name="McK Footnot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1531" y="6477000"/>
            <a:ext cx="75379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marL="574675" indent="-574675" defTabSz="895350">
              <a:lnSpc>
                <a:spcPct val="100000"/>
              </a:lnSpc>
              <a:spcBef>
                <a:spcPct val="20000"/>
              </a:spcBef>
              <a:buFontTx/>
              <a:buNone/>
              <a:tabLst>
                <a:tab pos="533400" algn="r"/>
              </a:tabLst>
            </a:pPr>
            <a:r>
              <a:rPr lang="zh-CN" altLang="en-US" sz="1000">
                <a:solidFill>
                  <a:schemeClr val="bg2"/>
                </a:solidFill>
                <a:ea typeface="宋体" pitchFamily="2" charset="-122"/>
              </a:rPr>
              <a:t>	</a:t>
            </a:r>
            <a:r>
              <a:rPr lang="en-US" altLang="zh-CN" sz="1000">
                <a:solidFill>
                  <a:schemeClr val="bg2"/>
                </a:solidFill>
                <a:ea typeface="宋体" pitchFamily="2" charset="-122"/>
              </a:rPr>
              <a:t>Source:	United Nations (1999): World Population Prospects. New York </a:t>
            </a:r>
          </a:p>
        </p:txBody>
      </p:sp>
      <p:sp>
        <p:nvSpPr>
          <p:cNvPr id="2055" name="Rectangle 4"/>
          <p:cNvSpPr>
            <a:spLocks noGrp="1" noChangeArrowheads="1"/>
          </p:cNvSpPr>
          <p:nvPr>
            <p:ph type="title"/>
          </p:nvPr>
        </p:nvSpPr>
        <p:spPr>
          <a:xfrm>
            <a:off x="214282" y="1142984"/>
            <a:ext cx="4829180" cy="346092"/>
          </a:xfrm>
        </p:spPr>
        <p:txBody>
          <a:bodyPr/>
          <a:lstStyle/>
          <a:p>
            <a:r>
              <a:rPr lang="en-US" altLang="zh-CN" sz="1300" dirty="0" smtClean="0">
                <a:solidFill>
                  <a:schemeClr val="tx1"/>
                </a:solidFill>
                <a:ea typeface="宋体" pitchFamily="2" charset="-122"/>
              </a:rPr>
              <a:t>Actual and projected population of China, 1950-2050</a:t>
            </a:r>
          </a:p>
        </p:txBody>
      </p:sp>
      <p:graphicFrame>
        <p:nvGraphicFramePr>
          <p:cNvPr id="2051" name="Object 5"/>
          <p:cNvGraphicFramePr>
            <a:graphicFrameLocks noChangeAspect="1"/>
          </p:cNvGraphicFramePr>
          <p:nvPr>
            <p:ph sz="half" idx="4294967295"/>
          </p:nvPr>
        </p:nvGraphicFramePr>
        <p:xfrm>
          <a:off x="0" y="1412875"/>
          <a:ext cx="1417638" cy="5137150"/>
        </p:xfrm>
        <a:graphic>
          <a:graphicData uri="http://schemas.openxmlformats.org/presentationml/2006/ole">
            <p:oleObj spid="_x0000_s29699" name="Chart" r:id="rId6" imgW="8826500" imgH="6870700" progId="MSGraph.Chart.8">
              <p:embed followColorScheme="full"/>
            </p:oleObj>
          </a:graphicData>
        </a:graphic>
      </p:graphicFrame>
      <p:graphicFrame>
        <p:nvGraphicFramePr>
          <p:cNvPr id="2052" name="Object 6"/>
          <p:cNvGraphicFramePr>
            <a:graphicFrameLocks noChangeAspect="1"/>
          </p:cNvGraphicFramePr>
          <p:nvPr>
            <p:ph sz="quarter" idx="4294967295"/>
          </p:nvPr>
        </p:nvGraphicFramePr>
        <p:xfrm>
          <a:off x="8420100" y="1412875"/>
          <a:ext cx="723900" cy="2247900"/>
        </p:xfrm>
        <a:graphic>
          <a:graphicData uri="http://schemas.openxmlformats.org/presentationml/2006/ole">
            <p:oleObj spid="_x0000_s29700" name="Chart" r:id="rId7" imgW="8813800" imgH="5880100" progId="MSGraph.Chart.8">
              <p:embed followColorScheme="full"/>
            </p:oleObj>
          </a:graphicData>
        </a:graphic>
      </p:graphicFrame>
      <p:graphicFrame>
        <p:nvGraphicFramePr>
          <p:cNvPr id="2053" name="Object 8"/>
          <p:cNvGraphicFramePr>
            <a:graphicFrameLocks noChangeAspect="1"/>
          </p:cNvGraphicFramePr>
          <p:nvPr>
            <p:ph sz="quarter" idx="4294967295"/>
          </p:nvPr>
        </p:nvGraphicFramePr>
        <p:xfrm>
          <a:off x="214282" y="1928803"/>
          <a:ext cx="5214974" cy="4138706"/>
        </p:xfrm>
        <a:graphic>
          <a:graphicData uri="http://schemas.openxmlformats.org/presentationml/2006/ole">
            <p:oleObj spid="_x0000_s29701" name="Chart" r:id="rId8" imgW="3886200" imgH="2971800" progId="MSGraph.Chart.8">
              <p:embed followColorScheme="full"/>
            </p:oleObj>
          </a:graphicData>
        </a:graphic>
      </p:graphicFrame>
      <p:pic>
        <p:nvPicPr>
          <p:cNvPr id="2056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57158" y="1571612"/>
            <a:ext cx="8358246" cy="1301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057" name="Text Box 9"/>
          <p:cNvSpPr txBox="1">
            <a:spLocks noChangeArrowheads="1"/>
          </p:cNvSpPr>
          <p:nvPr/>
        </p:nvSpPr>
        <p:spPr bwMode="gray">
          <a:xfrm>
            <a:off x="571472" y="357166"/>
            <a:ext cx="6909306" cy="71438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200" b="1" dirty="0" smtClean="0">
                <a:ea typeface="宋体" pitchFamily="2" charset="-122"/>
              </a:rPr>
              <a:t>China’s population</a:t>
            </a:r>
          </a:p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400" dirty="0" smtClean="0">
                <a:ea typeface="宋体" pitchFamily="2" charset="-122"/>
              </a:rPr>
              <a:t>(From United Nations, World Population Prospects. New York (1999))</a:t>
            </a:r>
            <a:endParaRPr lang="en-US" altLang="zh-CN" sz="1400" b="1" dirty="0">
              <a:ea typeface="宋体" pitchFamily="2" charset="-122"/>
            </a:endParaRPr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2995389" y="2298700"/>
            <a:ext cx="0" cy="3175000"/>
          </a:xfrm>
          <a:prstGeom prst="line">
            <a:avLst/>
          </a:prstGeom>
          <a:noFill/>
          <a:ln w="9525">
            <a:solidFill>
              <a:srgbClr val="CCFF33"/>
            </a:solidFill>
            <a:round/>
            <a:headEnd/>
            <a:tailEnd/>
          </a:ln>
        </p:spPr>
        <p:txBody>
          <a:bodyPr/>
          <a:lstStyle/>
          <a:p>
            <a:endParaRPr lang="en-NZ"/>
          </a:p>
        </p:txBody>
      </p:sp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59978" y="4337050"/>
            <a:ext cx="1925515" cy="560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060" name="Rectangle 12"/>
          <p:cNvSpPr>
            <a:spLocks noChangeArrowheads="1"/>
          </p:cNvSpPr>
          <p:nvPr/>
        </p:nvSpPr>
        <p:spPr bwMode="auto">
          <a:xfrm>
            <a:off x="6072198" y="2357430"/>
            <a:ext cx="2071702" cy="2143140"/>
          </a:xfrm>
          <a:prstGeom prst="rect">
            <a:avLst/>
          </a:prstGeom>
          <a:solidFill>
            <a:srgbClr val="99CC00"/>
          </a:solidFill>
          <a:ln w="9525" algn="ctr">
            <a:solidFill>
              <a:srgbClr val="99CC00"/>
            </a:solidFill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200" b="1" dirty="0">
                <a:solidFill>
                  <a:schemeClr val="bg1"/>
                </a:solidFill>
                <a:ea typeface="宋体" pitchFamily="2" charset="-122"/>
              </a:rPr>
              <a:t>China has a high birth rate 12.3 while population aging will emerge in China more quickly than in other countries</a:t>
            </a:r>
          </a:p>
        </p:txBody>
      </p:sp>
      <p:sp>
        <p:nvSpPr>
          <p:cNvPr id="2061" name="Rectangle 13"/>
          <p:cNvSpPr>
            <a:spLocks noChangeArrowheads="1"/>
          </p:cNvSpPr>
          <p:nvPr/>
        </p:nvSpPr>
        <p:spPr bwMode="auto">
          <a:xfrm>
            <a:off x="5429256" y="1285860"/>
            <a:ext cx="3345473" cy="2143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300" b="1" dirty="0">
                <a:solidFill>
                  <a:schemeClr val="tx1"/>
                </a:solidFill>
                <a:ea typeface="宋体" pitchFamily="2" charset="-122"/>
              </a:rPr>
              <a:t> </a:t>
            </a:r>
            <a:r>
              <a:rPr lang="en-US" altLang="zh-CN" sz="1300" dirty="0">
                <a:solidFill>
                  <a:schemeClr val="tx1"/>
                </a:solidFill>
                <a:ea typeface="宋体" pitchFamily="2" charset="-122"/>
              </a:rPr>
              <a:t>42% of population &gt; 50 years by 2050</a:t>
            </a:r>
            <a:endParaRPr lang="zh-CN" altLang="en-US" sz="1300" dirty="0">
              <a:solidFill>
                <a:schemeClr val="tx1"/>
              </a:solidFill>
              <a:ea typeface="宋体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596" y="642918"/>
            <a:ext cx="7467600" cy="1143000"/>
          </a:xfrm>
        </p:spPr>
        <p:txBody>
          <a:bodyPr>
            <a:normAutofit fontScale="90000"/>
          </a:bodyPr>
          <a:lstStyle/>
          <a:p>
            <a:pPr lvl="0"/>
            <a:r>
              <a:rPr lang="en-US" altLang="zh-CN" sz="3200" b="1" dirty="0" smtClean="0">
                <a:ea typeface="宋体" pitchFamily="2" charset="-122"/>
              </a:rPr>
              <a:t>China’s population growth and urbanization </a:t>
            </a:r>
            <a:r>
              <a:rPr lang="en-NZ" dirty="0" smtClean="0"/>
              <a:t/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42910" y="1785926"/>
            <a:ext cx="6643734" cy="4462474"/>
          </a:xfrm>
        </p:spPr>
        <p:txBody>
          <a:bodyPr>
            <a:noAutofit/>
          </a:bodyPr>
          <a:lstStyle/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charset="2"/>
              <a:buChar char=""/>
            </a:pPr>
            <a:r>
              <a:rPr lang="en-US" altLang="zh-CN" sz="1600" dirty="0" smtClean="0">
                <a:ea typeface="宋体" pitchFamily="2" charset="-122"/>
              </a:rPr>
              <a:t> </a:t>
            </a:r>
            <a:r>
              <a:rPr lang="en-US" sz="1600" b="1" dirty="0" smtClean="0"/>
              <a:t>Number  of new-born baby in China each year</a:t>
            </a:r>
          </a:p>
          <a:p>
            <a:pPr lvl="1"/>
            <a:r>
              <a:rPr lang="en-US" sz="1300" dirty="0" smtClean="0"/>
              <a:t>Average annual</a:t>
            </a:r>
            <a:r>
              <a:rPr lang="en-US" sz="1300" dirty="0" smtClean="0"/>
              <a:t> </a:t>
            </a:r>
            <a:r>
              <a:rPr lang="en-US" sz="1300" dirty="0" smtClean="0"/>
              <a:t>-</a:t>
            </a:r>
            <a:r>
              <a:rPr lang="en-US" sz="1300" dirty="0" smtClean="0"/>
              <a:t> </a:t>
            </a:r>
            <a:r>
              <a:rPr lang="en-US" sz="1300" dirty="0" smtClean="0"/>
              <a:t>18 Million (=1.5 million per month or 49,000 per day)</a:t>
            </a:r>
            <a:endParaRPr lang="en-US" sz="1300" b="1" dirty="0" smtClean="0"/>
          </a:p>
          <a:p>
            <a:pPr lvl="1">
              <a:buNone/>
            </a:pPr>
            <a:endParaRPr lang="en-US" sz="1300" dirty="0" smtClean="0"/>
          </a:p>
          <a:p>
            <a:r>
              <a:rPr lang="en-US" sz="1600" b="1" dirty="0" smtClean="0"/>
              <a:t>No. of cities with </a:t>
            </a:r>
            <a:r>
              <a:rPr lang="en-US" sz="1600" b="1" dirty="0" smtClean="0"/>
              <a:t>&gt;10 million </a:t>
            </a:r>
            <a:r>
              <a:rPr lang="en-US" sz="1600" b="1" dirty="0" smtClean="0"/>
              <a:t>to 1 </a:t>
            </a:r>
            <a:r>
              <a:rPr lang="en-US" sz="1600" b="1" dirty="0" smtClean="0"/>
              <a:t>million (in 2010)</a:t>
            </a:r>
          </a:p>
          <a:p>
            <a:pPr lvl="1"/>
            <a:r>
              <a:rPr lang="en-US" sz="1300" dirty="0" smtClean="0"/>
              <a:t>&gt; 10 million: 3 (Beijing, Shanghai, Chongqing)</a:t>
            </a:r>
          </a:p>
          <a:p>
            <a:pPr lvl="1"/>
            <a:r>
              <a:rPr lang="en-US" sz="1300" dirty="0" smtClean="0"/>
              <a:t>&gt; 2 million:</a:t>
            </a:r>
            <a:r>
              <a:rPr lang="en-US" sz="1300" dirty="0" smtClean="0"/>
              <a:t>  36</a:t>
            </a:r>
            <a:endParaRPr lang="en-US" sz="1300" dirty="0" smtClean="0"/>
          </a:p>
          <a:p>
            <a:pPr lvl="1"/>
            <a:r>
              <a:rPr lang="en-US" sz="1300" dirty="0" smtClean="0"/>
              <a:t>&gt; 1 million: 119</a:t>
            </a:r>
          </a:p>
          <a:p>
            <a:pPr lvl="1"/>
            <a:endParaRPr lang="en-US" sz="1300" dirty="0" smtClean="0"/>
          </a:p>
          <a:p>
            <a:pPr lvl="1">
              <a:buNone/>
            </a:pPr>
            <a:r>
              <a:rPr lang="en-US" sz="1400" dirty="0" smtClean="0"/>
              <a:t>By 2025</a:t>
            </a:r>
          </a:p>
          <a:p>
            <a:pPr lvl="1"/>
            <a:r>
              <a:rPr lang="en-US" sz="1300" dirty="0" smtClean="0"/>
              <a:t>&gt; 10 million: 8</a:t>
            </a:r>
          </a:p>
          <a:p>
            <a:pPr lvl="1"/>
            <a:r>
              <a:rPr lang="en-US" sz="1300" dirty="0" smtClean="0"/>
              <a:t>&gt;  5 million: 23</a:t>
            </a:r>
          </a:p>
          <a:p>
            <a:pPr lvl="1"/>
            <a:r>
              <a:rPr lang="en-US" sz="1300" dirty="0" smtClean="0"/>
              <a:t>&gt;  1 million: 221</a:t>
            </a:r>
          </a:p>
          <a:p>
            <a:pPr lvl="1">
              <a:buNone/>
            </a:pPr>
            <a:endParaRPr lang="en-US" sz="1300" dirty="0" smtClean="0"/>
          </a:p>
          <a:p>
            <a:pPr lvl="2">
              <a:buNone/>
            </a:pPr>
            <a:r>
              <a:rPr lang="en-US" sz="1400" b="1" dirty="0" smtClean="0"/>
              <a:t>Note:</a:t>
            </a:r>
          </a:p>
          <a:p>
            <a:pPr lvl="2">
              <a:buFont typeface="Wingdings" pitchFamily="2" charset="2"/>
              <a:buChar char="v"/>
            </a:pPr>
            <a:r>
              <a:rPr lang="en-US" sz="1400" dirty="0" smtClean="0"/>
              <a:t>1</a:t>
            </a:r>
            <a:r>
              <a:rPr lang="en-US" sz="1400" baseline="30000" dirty="0" smtClean="0"/>
              <a:t>st</a:t>
            </a:r>
            <a:r>
              <a:rPr lang="en-US" sz="1400" dirty="0" smtClean="0"/>
              <a:t> </a:t>
            </a:r>
            <a:r>
              <a:rPr lang="en-US" sz="1400" dirty="0" smtClean="0"/>
              <a:t>tier cities</a:t>
            </a:r>
            <a:r>
              <a:rPr lang="en-US" sz="1400" dirty="0" smtClean="0"/>
              <a:t> = </a:t>
            </a:r>
            <a:r>
              <a:rPr lang="en-US" sz="1400" dirty="0" smtClean="0"/>
              <a:t>large cities and provincial capitals </a:t>
            </a:r>
          </a:p>
          <a:p>
            <a:pPr lvl="2">
              <a:buFont typeface="Wingdings" pitchFamily="2" charset="2"/>
              <a:buChar char="v"/>
            </a:pPr>
            <a:r>
              <a:rPr lang="en-US" sz="1400" dirty="0" smtClean="0"/>
              <a:t>2</a:t>
            </a:r>
            <a:r>
              <a:rPr lang="en-US" sz="1400" baseline="30000" dirty="0" smtClean="0"/>
              <a:t>nd</a:t>
            </a:r>
            <a:r>
              <a:rPr lang="en-US" sz="1400" dirty="0" smtClean="0"/>
              <a:t> tier city</a:t>
            </a:r>
            <a:r>
              <a:rPr lang="en-US" sz="1400" dirty="0" smtClean="0"/>
              <a:t> = </a:t>
            </a:r>
            <a:r>
              <a:rPr lang="en-US" sz="1400" dirty="0" smtClean="0"/>
              <a:t>medium sized cities (&gt; 1 million)</a:t>
            </a:r>
          </a:p>
          <a:p>
            <a:pPr lvl="2">
              <a:buFont typeface="Wingdings" pitchFamily="2" charset="2"/>
              <a:buChar char="v"/>
            </a:pPr>
            <a:r>
              <a:rPr lang="en-US" sz="1400" dirty="0" smtClean="0"/>
              <a:t>3</a:t>
            </a:r>
            <a:r>
              <a:rPr lang="en-US" sz="1400" baseline="30000" dirty="0" smtClean="0"/>
              <a:t>rd</a:t>
            </a:r>
            <a:r>
              <a:rPr lang="en-US" sz="1400" dirty="0" smtClean="0"/>
              <a:t> tier cities</a:t>
            </a:r>
            <a:r>
              <a:rPr lang="en-US" sz="1400" dirty="0" smtClean="0"/>
              <a:t> = </a:t>
            </a:r>
            <a:r>
              <a:rPr lang="en-US" sz="1400" dirty="0" smtClean="0"/>
              <a:t>small sized cities (&lt; 1 million) - about 500 cities</a:t>
            </a:r>
            <a:endParaRPr lang="en-NZ" sz="1400" dirty="0" smtClean="0"/>
          </a:p>
          <a:p>
            <a:pPr lvl="1"/>
            <a:endParaRPr lang="en-US" sz="1300" dirty="0" smtClean="0"/>
          </a:p>
          <a:p>
            <a:pPr lvl="1">
              <a:buNone/>
            </a:pPr>
            <a:endParaRPr lang="en-US" sz="13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 bwMode="gray">
          <a:noFill/>
        </p:spPr>
        <p:txBody>
          <a:bodyPr lIns="0"/>
          <a:lstStyle/>
          <a:p>
            <a:r>
              <a:rPr lang="en-NZ" altLang="zh-CN" dirty="0" smtClean="0">
                <a:ea typeface="宋体" pitchFamily="2" charset="-122"/>
              </a:rPr>
              <a:t>China Dairy </a:t>
            </a:r>
            <a:r>
              <a:rPr lang="en-NZ" altLang="zh-CN" dirty="0" smtClean="0">
                <a:ea typeface="宋体" pitchFamily="2" charset="-122"/>
              </a:rPr>
              <a:t>Snapshot </a:t>
            </a:r>
            <a:r>
              <a:rPr lang="en-US" altLang="zh-CN" sz="2000" dirty="0" smtClean="0"/>
              <a:t>(</a:t>
            </a:r>
            <a:r>
              <a:rPr lang="en-US" altLang="zh-CN" sz="2000" dirty="0" smtClean="0"/>
              <a:t>best estimation)</a:t>
            </a:r>
            <a:endParaRPr lang="en-GB" altLang="zh-CN" sz="2000" dirty="0" smtClean="0">
              <a:ea typeface="宋体" pitchFamily="2" charset="-122"/>
            </a:endParaRPr>
          </a:p>
        </p:txBody>
      </p:sp>
      <p:sp>
        <p:nvSpPr>
          <p:cNvPr id="22532" name="Rectangle 5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685800" y="1905000"/>
            <a:ext cx="7283450" cy="3357586"/>
          </a:xfrm>
          <a:noFill/>
        </p:spPr>
        <p:txBody>
          <a:bodyPr>
            <a:noAutofit/>
          </a:bodyPr>
          <a:lstStyle/>
          <a:p>
            <a:pPr marL="304800" indent="-304800"/>
            <a:r>
              <a:rPr lang="en-US" altLang="zh-CN" sz="1400" b="1" dirty="0" smtClean="0"/>
              <a:t>Dairy </a:t>
            </a:r>
            <a:r>
              <a:rPr lang="en-US" altLang="zh-CN" sz="1400" b="1" dirty="0" smtClean="0"/>
              <a:t>Cows </a:t>
            </a:r>
            <a:r>
              <a:rPr lang="en-US" altLang="zh-CN" sz="1400" b="1" smtClean="0"/>
              <a:t>(total)</a:t>
            </a:r>
            <a:r>
              <a:rPr lang="en-US" altLang="zh-CN" sz="1400" smtClean="0"/>
              <a:t>	</a:t>
            </a:r>
            <a:r>
              <a:rPr lang="en-US" altLang="zh-CN" sz="1400" dirty="0" smtClean="0"/>
              <a:t>		</a:t>
            </a:r>
            <a:r>
              <a:rPr lang="en-US" altLang="zh-CN" sz="1400" smtClean="0"/>
              <a:t>8</a:t>
            </a:r>
            <a:r>
              <a:rPr lang="en-US" altLang="zh-CN" sz="1400" smtClean="0"/>
              <a:t> </a:t>
            </a:r>
            <a:r>
              <a:rPr lang="en-US" altLang="zh-CN" sz="1400" smtClean="0"/>
              <a:t>m</a:t>
            </a:r>
            <a:r>
              <a:rPr lang="en-US" altLang="zh-CN" sz="1400" smtClean="0"/>
              <a:t>illion </a:t>
            </a:r>
            <a:r>
              <a:rPr lang="en-US" altLang="zh-CN" sz="1400" dirty="0" smtClean="0"/>
              <a:t>cows</a:t>
            </a:r>
            <a:endParaRPr lang="en-US" altLang="zh-CN" sz="1400" dirty="0" smtClean="0"/>
          </a:p>
          <a:p>
            <a:pPr marL="304800" indent="-304800"/>
            <a:r>
              <a:rPr lang="en-US" altLang="zh-CN" sz="1400" b="1" dirty="0" smtClean="0"/>
              <a:t>Average cows </a:t>
            </a:r>
            <a:r>
              <a:rPr lang="en-US" altLang="zh-CN" sz="1400" b="1" dirty="0" smtClean="0"/>
              <a:t>/farm</a:t>
            </a:r>
            <a:r>
              <a:rPr lang="en-US" altLang="zh-CN" sz="1400" dirty="0" smtClean="0"/>
              <a:t>		87%</a:t>
            </a:r>
            <a:r>
              <a:rPr lang="en-US" altLang="zh-CN" sz="1400" dirty="0" smtClean="0"/>
              <a:t> have less </a:t>
            </a:r>
            <a:r>
              <a:rPr lang="en-US" altLang="zh-CN" sz="1400" dirty="0" smtClean="0"/>
              <a:t>than 200 cows</a:t>
            </a:r>
          </a:p>
          <a:p>
            <a:pPr marL="304800" indent="-304800">
              <a:buFont typeface="Wingdings" pitchFamily="2" charset="2"/>
              <a:buNone/>
            </a:pPr>
            <a:r>
              <a:rPr lang="en-US" altLang="zh-CN" sz="1400" dirty="0" smtClean="0"/>
              <a:t>					66%</a:t>
            </a:r>
            <a:r>
              <a:rPr lang="en-US" altLang="zh-CN" sz="1400" dirty="0" smtClean="0"/>
              <a:t> have less </a:t>
            </a:r>
            <a:r>
              <a:rPr lang="en-US" altLang="zh-CN" sz="1400" dirty="0" smtClean="0"/>
              <a:t>than 20 cows</a:t>
            </a:r>
          </a:p>
          <a:p>
            <a:pPr marL="304800" indent="-304800"/>
            <a:r>
              <a:rPr lang="en-US" altLang="zh-CN" sz="1400" b="1" dirty="0" smtClean="0"/>
              <a:t>Milk yield </a:t>
            </a:r>
            <a:r>
              <a:rPr lang="en-US" altLang="zh-CN" sz="1400" dirty="0" smtClean="0"/>
              <a:t>(Mt </a:t>
            </a:r>
            <a:r>
              <a:rPr lang="en-US" altLang="zh-CN" sz="1400" dirty="0" smtClean="0"/>
              <a:t>/cow /year</a:t>
            </a:r>
            <a:r>
              <a:rPr lang="en-US" altLang="zh-CN" sz="1400" dirty="0" smtClean="0"/>
              <a:t>)		</a:t>
            </a:r>
            <a:r>
              <a:rPr lang="en-US" altLang="zh-CN" sz="1400" dirty="0" smtClean="0"/>
              <a:t>	 2.5Mts</a:t>
            </a:r>
            <a:endParaRPr lang="en-US" altLang="zh-CN" sz="1400" dirty="0" smtClean="0"/>
          </a:p>
          <a:p>
            <a:pPr marL="304800" indent="-304800"/>
            <a:r>
              <a:rPr lang="en-US" altLang="zh-CN" sz="1400" b="1" dirty="0" smtClean="0"/>
              <a:t>Dairy products consumption per capita</a:t>
            </a:r>
            <a:r>
              <a:rPr lang="en-US" altLang="zh-CN" sz="1400" dirty="0" smtClean="0"/>
              <a:t>	12.1kg</a:t>
            </a:r>
            <a:endParaRPr lang="en-US" altLang="zh-CN" sz="1400" dirty="0" smtClean="0"/>
          </a:p>
          <a:p>
            <a:pPr marL="304800" indent="-304800"/>
            <a:r>
              <a:rPr lang="en-US" altLang="zh-CN" sz="1400" b="1" dirty="0" smtClean="0"/>
              <a:t>Drinking milk consumption per capita</a:t>
            </a:r>
            <a:r>
              <a:rPr lang="en-US" altLang="zh-CN" sz="1400" dirty="0" smtClean="0"/>
              <a:t>	10.1kg</a:t>
            </a:r>
            <a:endParaRPr lang="en-US" altLang="zh-CN" sz="1400" dirty="0" smtClean="0"/>
          </a:p>
          <a:p>
            <a:pPr marL="304800" indent="-304800"/>
            <a:r>
              <a:rPr lang="en-US" altLang="zh-CN" sz="1400" b="1" dirty="0" smtClean="0"/>
              <a:t>Yogurt and sour milk drinks</a:t>
            </a:r>
          </a:p>
          <a:p>
            <a:pPr marL="304800" indent="-304800">
              <a:buNone/>
            </a:pPr>
            <a:r>
              <a:rPr lang="en-US" altLang="zh-CN" sz="1400" b="1" dirty="0" smtClean="0"/>
              <a:t>	 consumption per capita</a:t>
            </a:r>
            <a:r>
              <a:rPr lang="en-US" altLang="zh-CN" sz="1400" dirty="0" smtClean="0"/>
              <a:t>			2.0k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58" y="357166"/>
            <a:ext cx="7467600" cy="928694"/>
          </a:xfrm>
        </p:spPr>
        <p:txBody>
          <a:bodyPr>
            <a:normAutofit fontScale="90000"/>
          </a:bodyPr>
          <a:lstStyle/>
          <a:p>
            <a:pPr lvl="0"/>
            <a:r>
              <a:rPr lang="en-NZ" dirty="0" smtClean="0"/>
              <a:t>China – economic development</a:t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14282" y="1214422"/>
            <a:ext cx="8143932" cy="5214974"/>
          </a:xfrm>
        </p:spPr>
        <p:txBody>
          <a:bodyPr>
            <a:normAutofit/>
          </a:bodyPr>
          <a:lstStyle/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charset="2"/>
              <a:buChar char="u"/>
            </a:pP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In China, consumption gradually becoming the most important economic growth driver. 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Courier New" pitchFamily="49" charset="0"/>
              <a:buChar char="o"/>
            </a:pPr>
            <a:endParaRPr lang="en-US" altLang="zh-CN" sz="2000" dirty="0" smtClean="0">
              <a:latin typeface="Arial Rounded MT Bold" pitchFamily="34" charset="0"/>
              <a:ea typeface="宋体" pitchFamily="2" charset="-122"/>
            </a:endParaRPr>
          </a:p>
          <a:p>
            <a:pPr>
              <a:buFont typeface="Wingdings" charset="2"/>
              <a:buChar char="u"/>
            </a:pP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Middle class growing fast; income distribution widening </a:t>
            </a: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further</a:t>
            </a:r>
          </a:p>
          <a:p>
            <a:pPr lvl="1"/>
            <a:r>
              <a:rPr lang="en-NZ" sz="2000" dirty="0" smtClean="0"/>
              <a:t>According to </a:t>
            </a:r>
            <a:r>
              <a:rPr lang="en-NZ" sz="2000" i="1" dirty="0" smtClean="0"/>
              <a:t>Euromonitor International</a:t>
            </a:r>
            <a:r>
              <a:rPr lang="en-NZ" sz="2000" dirty="0" smtClean="0"/>
              <a:t>, China’s middle class, which stood at 80 million people in 2007, is expected to soar to 700 million by 2020</a:t>
            </a:r>
          </a:p>
          <a:p>
            <a:pPr lvl="1"/>
            <a:endParaRPr lang="en-US" altLang="zh-CN" sz="2000" dirty="0" smtClean="0">
              <a:latin typeface="Arial Rounded MT Bold" pitchFamily="34" charset="0"/>
              <a:ea typeface="宋体" pitchFamily="2" charset="-122"/>
            </a:endParaRP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charset="2"/>
              <a:buChar char="u"/>
            </a:pPr>
            <a:r>
              <a:rPr lang="en-US" altLang="zh-CN" sz="2000" dirty="0" smtClean="0">
                <a:latin typeface="Arial Rounded MT Bold" pitchFamily="34" charset="0"/>
                <a:ea typeface="宋体" pitchFamily="2" charset="-122"/>
              </a:rPr>
              <a:t>Urbanization redefining city landscape and scale – more consumer market growth coming from lower-tier cities.</a:t>
            </a:r>
          </a:p>
          <a:p>
            <a:pPr lvl="1"/>
            <a:r>
              <a:rPr lang="en-NZ" sz="2000" i="1" dirty="0" smtClean="0"/>
              <a:t>McKinsey Global Institute </a:t>
            </a:r>
            <a:r>
              <a:rPr lang="en-NZ" sz="2000" dirty="0" smtClean="0"/>
              <a:t>has estimated that more than 1 billion people will be living in cities in China by 2030, compared with about 600 million in 2008. </a:t>
            </a:r>
            <a:endParaRPr lang="en-US" altLang="zh-CN" sz="2000" dirty="0" smtClean="0">
              <a:latin typeface="Arial Rounded MT Bold" pitchFamily="34" charset="0"/>
              <a:ea typeface="宋体" pitchFamily="2" charset="-122"/>
            </a:endParaRP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endParaRPr lang="en-US" altLang="zh-CN" sz="1800" dirty="0" smtClean="0">
              <a:latin typeface="Arial Rounded MT Bold" pitchFamily="34" charset="0"/>
              <a:ea typeface="宋体" pitchFamily="2" charset="-122"/>
            </a:endParaRPr>
          </a:p>
          <a:p>
            <a:endParaRPr lang="en-N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en-NZ" dirty="0" smtClean="0"/>
              <a:t>China – economic development</a:t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14282" y="1500174"/>
            <a:ext cx="8143932" cy="4929222"/>
          </a:xfrm>
        </p:spPr>
        <p:txBody>
          <a:bodyPr>
            <a:normAutofit/>
          </a:bodyPr>
          <a:lstStyle/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charset="2"/>
              <a:buChar char=""/>
            </a:pP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Chinese government continuing to focus on maintaining “sustainable development” and building a “harmonious society”. 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Courier New" pitchFamily="49" charset="0"/>
              <a:buChar char="o"/>
            </a:pPr>
            <a:endParaRPr lang="en-US" altLang="zh-CN" dirty="0" smtClean="0">
              <a:latin typeface="Arial Rounded MT Bold" pitchFamily="34" charset="0"/>
              <a:ea typeface="宋体" pitchFamily="2" charset="-122"/>
            </a:endParaRPr>
          </a:p>
          <a:p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As a result of all these changes, China posed to become the Number 3 consumer market worldwide by 2015.</a:t>
            </a:r>
            <a:r>
              <a:rPr lang="en-NZ" dirty="0" smtClean="0"/>
              <a:t> </a:t>
            </a:r>
          </a:p>
          <a:p>
            <a:endParaRPr lang="en-NZ" altLang="zh-CN" dirty="0" smtClean="0">
              <a:latin typeface="Arial Rounded MT Bold" pitchFamily="34" charset="0"/>
              <a:ea typeface="宋体" pitchFamily="2" charset="-122"/>
            </a:endParaRPr>
          </a:p>
          <a:p>
            <a:r>
              <a:rPr lang="en-NZ" altLang="zh-CN" dirty="0" smtClean="0">
                <a:latin typeface="Arial Rounded MT Bold" pitchFamily="34" charset="0"/>
                <a:ea typeface="宋体" pitchFamily="2" charset="-122"/>
              </a:rPr>
              <a:t>China is expected to be one of the fastest growing markets for liquid dairy (Tetra Pac’s report in 2011).</a:t>
            </a:r>
          </a:p>
          <a:p>
            <a:pPr marL="266700" indent="-266700" eaLnBrk="0" hangingPunct="0">
              <a:lnSpc>
                <a:spcPct val="100000"/>
              </a:lnSpc>
              <a:spcBef>
                <a:spcPct val="40000"/>
              </a:spcBef>
              <a:buFont typeface="Wingdings" pitchFamily="2" charset="2"/>
              <a:buChar char="§"/>
            </a:pPr>
            <a:endParaRPr lang="en-US" altLang="zh-CN" dirty="0" smtClean="0">
              <a:latin typeface="Arial Rounded MT Bold" pitchFamily="34" charset="0"/>
              <a:ea typeface="宋体" pitchFamily="2" charset="-122"/>
            </a:endParaRPr>
          </a:p>
          <a:p>
            <a:endParaRPr lang="en-N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lvl="0"/>
            <a:r>
              <a:rPr lang="en-NZ" dirty="0" smtClean="0"/>
              <a:t>Chinese traditions for Dairy products</a:t>
            </a:r>
            <a:br>
              <a:rPr lang="en-NZ" dirty="0" smtClean="0"/>
            </a:br>
            <a:endParaRPr lang="en-NZ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28596" y="1214422"/>
            <a:ext cx="8143932" cy="4786346"/>
          </a:xfrm>
        </p:spPr>
        <p:txBody>
          <a:bodyPr>
            <a:noAutofit/>
          </a:bodyPr>
          <a:lstStyle/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Dairy products were not in the normal Chinese diet</a:t>
            </a:r>
          </a:p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Only liquid town milk and </a:t>
            </a: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WMP* </a:t>
            </a: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were used by baby, patient, or elderly  </a:t>
            </a:r>
          </a:p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Chinese people like sweet milk </a:t>
            </a: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(they add </a:t>
            </a: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sugar) with strong creamy and cooked flavor</a:t>
            </a:r>
          </a:p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Chinese people preferred to drink milk in warm</a:t>
            </a:r>
          </a:p>
          <a:p>
            <a:pPr marL="266700" indent="-266700" eaLnBrk="0" hangingPunct="0">
              <a:spcBef>
                <a:spcPct val="40000"/>
              </a:spcBef>
              <a:buFont typeface="Courier New" pitchFamily="49" charset="0"/>
              <a:buChar char="o"/>
            </a:pP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Chinese people believed dairy products were healthy and nutritional </a:t>
            </a: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>foods</a:t>
            </a:r>
            <a:br>
              <a:rPr lang="en-US" altLang="zh-CN" dirty="0" smtClean="0">
                <a:latin typeface="Arial Rounded MT Bold" pitchFamily="34" charset="0"/>
                <a:ea typeface="宋体" pitchFamily="2" charset="-122"/>
              </a:rPr>
            </a:b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/>
            </a:r>
            <a:br>
              <a:rPr lang="en-US" altLang="zh-CN" dirty="0" smtClean="0">
                <a:latin typeface="Arial Rounded MT Bold" pitchFamily="34" charset="0"/>
                <a:ea typeface="宋体" pitchFamily="2" charset="-122"/>
              </a:rPr>
            </a:br>
            <a:r>
              <a:rPr lang="en-US" altLang="zh-CN" dirty="0" smtClean="0">
                <a:latin typeface="Arial Rounded MT Bold" pitchFamily="34" charset="0"/>
                <a:ea typeface="宋体" pitchFamily="2" charset="-122"/>
              </a:rPr>
              <a:t/>
            </a:r>
            <a:br>
              <a:rPr lang="en-US" altLang="zh-CN" dirty="0" smtClean="0">
                <a:latin typeface="Arial Rounded MT Bold" pitchFamily="34" charset="0"/>
                <a:ea typeface="宋体" pitchFamily="2" charset="-122"/>
              </a:rPr>
            </a:br>
            <a:r>
              <a:rPr lang="en-US" altLang="zh-CN" sz="1800" dirty="0" smtClean="0">
                <a:latin typeface="Arial"/>
                <a:ea typeface="宋体" pitchFamily="2" charset="-122"/>
              </a:rPr>
              <a:t>* WMP = Whole Milk Powder</a:t>
            </a:r>
          </a:p>
          <a:p>
            <a:endParaRPr 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inZ2w4j4DkGlZGl_6B0RAw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_FZgDimjFE.fOAIvAkYKVg"/>
</p:tagLst>
</file>

<file path=ppt/tags/tag1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DcsbNfTy0iSYHfXwt9UJw"/>
</p:tagLst>
</file>

<file path=ppt/tags/tag1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yreu3doYMUGi2OnA0OKbRg"/>
</p:tagLst>
</file>

<file path=ppt/tags/tag1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OGTuYKTmuEOLR5GDlKKODQ"/>
</p:tagLst>
</file>

<file path=ppt/tags/tag1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T75GE2VzPkivn_sywDgA0Q"/>
</p:tagLst>
</file>

<file path=ppt/tags/tag1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HUcsz.Vn40S5OIXRTtLV7g"/>
</p:tagLst>
</file>

<file path=ppt/tags/tag1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WBIYg2CMEGispMDs1EJhQ"/>
</p:tagLst>
</file>

<file path=ppt/tags/tag1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e3YlZfg3D0CWu9NDxvNOLw"/>
</p:tagLst>
</file>

<file path=ppt/tags/tag1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B59Gar6T0m4aVqXI8DNmg"/>
</p:tagLst>
</file>

<file path=ppt/tags/tag1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0uX8GNXR6Eyshfu31Qiv1A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_ppGWOfguUSnLtJH1FJvtA"/>
</p:tagLst>
</file>

<file path=ppt/tags/tag2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ROFMAJOAZE6WL._p3uJKSw"/>
</p:tagLst>
</file>

<file path=ppt/tags/tag2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qrBQ3o3E0CLHSQo22T7Ng"/>
</p:tagLst>
</file>

<file path=ppt/tags/tag2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R44WlBjRf0qxJcVCxdpgxw"/>
</p:tagLst>
</file>

<file path=ppt/tags/tag2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jis_Ksb6k0ebiVmOfDF4Ow"/>
</p:tagLst>
</file>

<file path=ppt/tags/tag2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JNwXCsnW70Cs84j280XGdw"/>
</p:tagLst>
</file>

<file path=ppt/tags/tag2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eZWUVh_4IEW1NrTGT6r1kQ"/>
</p:tagLst>
</file>

<file path=ppt/tags/tag2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L_Mh4CJufkG2REWbnBJlOQ"/>
</p:tagLst>
</file>

<file path=ppt/tags/tag2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57YqVpSUyE.teIOII3vnkg"/>
</p:tagLst>
</file>

<file path=ppt/tags/tag2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gNTfaLi8W0uzlJNpb8X4oQ"/>
</p:tagLst>
</file>

<file path=ppt/tags/tag2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zgkH_TOHECBe7UWKIQckw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.z3LroTBykSIvK6kuMYayg"/>
</p:tagLst>
</file>

<file path=ppt/tags/tag3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2W3JMP_PEEGqjBCiH9Kuug"/>
</p:tagLst>
</file>

<file path=ppt/tags/tag3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pPw0OMXD6EGIbLYcMfhh4w"/>
</p:tagLst>
</file>

<file path=ppt/tags/tag3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0DR2K0JTykyXmGUQ8odEkg"/>
</p:tagLst>
</file>

<file path=ppt/tags/tag3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7KU7FNatrUSWhUjNkCdYgw"/>
</p:tagLst>
</file>

<file path=ppt/tags/tag3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11EoNAjzUuXJqRnJieVeA"/>
</p:tagLst>
</file>

<file path=ppt/tags/tag3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hPEFU8WQvkaoiPrE6KRr4w"/>
</p:tagLst>
</file>

<file path=ppt/tags/tag3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gaGTvRnVAkKUaktQ96W6hA"/>
</p:tagLst>
</file>

<file path=ppt/tags/tag3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Uj.Kjmxc.EWrNI6Pm07JjQ"/>
</p:tagLst>
</file>

<file path=ppt/tags/tag3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38GtXSVav0.TweQBzMfXlQ"/>
</p:tagLst>
</file>

<file path=ppt/tags/tag3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USIlgV8UHk6KvJ__B4Y6HA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hd2vCg_2k2rsXUGAjd_EQ"/>
</p:tagLst>
</file>

<file path=ppt/tags/tag4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9TjSFW_76k27KilC8bw3hA"/>
</p:tagLst>
</file>

<file path=ppt/tags/tag4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OtQq0pm1dUKNqrxufBwR.w"/>
</p:tagLst>
</file>

<file path=ppt/tags/tag4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80Zll5Cjw0CZnVOH8sJswA"/>
</p:tagLst>
</file>

<file path=ppt/tags/tag4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wUILbiJdrkmXcNMxXkcGGA"/>
</p:tagLst>
</file>

<file path=ppt/tags/tag4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.Wa3FxX70q8byymNDujsQ"/>
</p:tagLst>
</file>

<file path=ppt/tags/tag4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8GNeJnMV0eEbRpxekfJdw"/>
</p:tagLst>
</file>

<file path=ppt/tags/tag4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109uL0SjL02XbAEsyGhHNQ"/>
</p:tagLst>
</file>

<file path=ppt/tags/tag4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eJgT3iac60KH9XxfXZCtrQ"/>
</p:tagLst>
</file>

<file path=ppt/tags/tag4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gDZ5W4HYQUSTbYoE49SMLg"/>
</p:tagLst>
</file>

<file path=ppt/tags/tag4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JlkthGQpIUe7f1O9wO6Oiw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kZ6dMXHEJ0uAUbq1NndvWA"/>
</p:tagLst>
</file>

<file path=ppt/tags/tag5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ut34E6XRB0aVmIovZVoeDQ"/>
</p:tagLst>
</file>

<file path=ppt/tags/tag5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Mw5aBNX.0ma3Xk8Io_XCg"/>
</p:tagLst>
</file>

<file path=ppt/tags/tag5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zX8FYPCmSkuoYG5lvpUBAA"/>
</p:tagLst>
</file>

<file path=ppt/tags/tag5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ZuiQ5QK.l0G8FKNuJ07d8Q"/>
</p:tagLst>
</file>

<file path=ppt/tags/tag5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twAECKSRm0622QtKhwIIOg"/>
</p:tagLst>
</file>

<file path=ppt/tags/tag5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ZGWC6cb4Eankz2514kIJQ"/>
</p:tagLst>
</file>

<file path=ppt/tags/tag5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i5wXrXEY0CmemdHrnMXKw"/>
</p:tagLst>
</file>

<file path=ppt/tags/tag5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_Snn6i3wkiq5M9UufMm.Q"/>
</p:tagLst>
</file>

<file path=ppt/tags/tag5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FmsNile_ukupklmpSM0d7g"/>
</p:tagLst>
</file>

<file path=ppt/tags/tag5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7UAk2HBny0ShQLTTUtKQsQ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NbdvDu9qbECk50dXlfIC0g"/>
</p:tagLst>
</file>

<file path=ppt/tags/tag6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OQLptCxCNk6fod0zCvtxOA"/>
</p:tagLst>
</file>

<file path=ppt/tags/tag6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ujWvNJPWVUGd3KIkG50Ggw"/>
</p:tagLst>
</file>

<file path=ppt/tags/tag6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hnI8gI8jS02uQJ4OnfJl3Q"/>
</p:tagLst>
</file>

<file path=ppt/tags/tag6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hLW0UfBOL0mfkM9F1tfuXQ"/>
</p:tagLst>
</file>

<file path=ppt/tags/tag6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u4WTEE.ZoEuOheIaOKVVvA"/>
</p:tagLst>
</file>

<file path=ppt/tags/tag6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KGtUStIyvkio9eETEf3pJQ"/>
</p:tagLst>
</file>

<file path=ppt/tags/tag6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6_0biZUUNEC80iQWTdJEFw"/>
</p:tagLst>
</file>

<file path=ppt/tags/tag6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IqMzVkEeV0y9MnHl6miceQ"/>
</p:tagLst>
</file>

<file path=ppt/tags/tag6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TBIZvZrzukKkPvLxPUMpqQ"/>
</p:tagLst>
</file>

<file path=ppt/tags/tag6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.qyEt8feB0a_tPYL8dG6Gw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iT1cW9L8u0SBKp3u28X2aw"/>
</p:tagLst>
</file>

<file path=ppt/tags/tag7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qtzE16MFC0.7rZY2aTNCEg"/>
</p:tagLst>
</file>

<file path=ppt/tags/tag7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P3U42NoanE6yPA.7AhM5.Q"/>
</p:tagLst>
</file>

<file path=ppt/tags/tag7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MdwkBB.8hkSXREGy353T0A"/>
</p:tagLst>
</file>

<file path=ppt/tags/tag7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_2p8zu6jnUaoEHBuaq5DEw"/>
</p:tagLst>
</file>

<file path=ppt/tags/tag7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Sz4m_GhfL0e8umOVJ5p6Yg"/>
</p:tagLst>
</file>

<file path=ppt/tags/tag7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dl1TMyKvXki8KDjJbMBR8A"/>
</p:tagLst>
</file>

<file path=ppt/tags/tag7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6ZiY8gWAykm_1Jz4UQiZFg"/>
</p:tagLst>
</file>

<file path=ppt/tags/tag7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lvqKcTTwwkiIbeZCY2F21A"/>
</p:tagLst>
</file>

<file path=ppt/tags/tag7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4hPaioI5B0eRfZYR8BSeTg"/>
</p:tagLst>
</file>

<file path=ppt/tags/tag7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RESIZE" val="Yes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mh6hXVHx90K0t3Au.KkFQw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jZG5E.XZki7A0hP4G1Wu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Oriel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Oriel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riel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0"/>
            </a:lightRig>
          </a:scene3d>
          <a:sp3d>
            <a:bevelT w="47625" h="6985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8000"/>
                <a:satMod val="125000"/>
              </a:schemeClr>
            </a:gs>
            <a:gs pos="40000">
              <a:schemeClr val="phClr">
                <a:tint val="90000"/>
                <a:shade val="90000"/>
                <a:satMod val="120000"/>
              </a:schemeClr>
            </a:gs>
            <a:gs pos="100000">
              <a:schemeClr val="phClr">
                <a:tint val="5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1000"/>
              </a:schemeClr>
            </a:duotone>
          </a:blip>
          <a:tile tx="0" ty="0" sx="40000" sy="50000" flip="y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riel</Template>
  <TotalTime>1343</TotalTime>
  <Words>1193</Words>
  <Application>Microsoft Macintosh PowerPoint</Application>
  <PresentationFormat>On-screen Show (4:3)</PresentationFormat>
  <Paragraphs>172</Paragraphs>
  <Slides>20</Slides>
  <Notes>7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Oriel</vt:lpstr>
      <vt:lpstr>Chart</vt:lpstr>
      <vt:lpstr>Milk Consumption and Dairy Industry in China </vt:lpstr>
      <vt:lpstr>Global milk production (From Food and Agriculture Organization of UN: FAOSTAT, DAC statistics, Mckinsey analysis) </vt:lpstr>
      <vt:lpstr>Milk Production in China  (From FSG analysis, China Knowledge, EIU )</vt:lpstr>
      <vt:lpstr>Actual and projected population of China, 1950-2050</vt:lpstr>
      <vt:lpstr>China’s population growth and urbanization  </vt:lpstr>
      <vt:lpstr>China Dairy Snapshot (best estimation)</vt:lpstr>
      <vt:lpstr>China – economic development </vt:lpstr>
      <vt:lpstr>China – economic development </vt:lpstr>
      <vt:lpstr>Chinese traditions for Dairy products </vt:lpstr>
      <vt:lpstr>Changes of the traditions  </vt:lpstr>
      <vt:lpstr>Dairy products  </vt:lpstr>
      <vt:lpstr> Chinese Dairy Consumption                       2003 to 2010 (From the internet)</vt:lpstr>
      <vt:lpstr> Revenues of Dairy products in China in 2005 and 2010 (From the internet)</vt:lpstr>
      <vt:lpstr>Chinese Dairy industry  </vt:lpstr>
      <vt:lpstr>Challenges in Chinese Dairy industry  </vt:lpstr>
      <vt:lpstr>Food safety concerns </vt:lpstr>
      <vt:lpstr>Prestigious brands </vt:lpstr>
      <vt:lpstr>dairy products in supermarket and retailer </vt:lpstr>
      <vt:lpstr>milk transportation </vt:lpstr>
      <vt:lpstr>The end of presentation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iry Consumption and Dairy Industry in China</dc:title>
  <dc:creator>chenhong</dc:creator>
  <cp:lastModifiedBy>Duncan France</cp:lastModifiedBy>
  <cp:revision>82</cp:revision>
  <dcterms:created xsi:type="dcterms:W3CDTF">2011-08-07T03:34:39Z</dcterms:created>
  <dcterms:modified xsi:type="dcterms:W3CDTF">2011-08-07T05:41:23Z</dcterms:modified>
</cp:coreProperties>
</file>